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sldIdLst>
    <p:sldId id="276" r:id="rId2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u" lastIdx="1" clrIdx="0"/>
  <p:cmAuthor id="1" name="Кирилл Юрьевич Гамов" initials="КЮГ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9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commentAuthors" Target="commentAuthors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Прямоугольник 186">
            <a:extLst>
              <a:ext uri="{FF2B5EF4-FFF2-40B4-BE49-F238E27FC236}">
                <a16:creationId xmlns="" xmlns:a16="http://schemas.microsoft.com/office/drawing/2014/main" id="{FAC46046-A13F-470D-9A63-AF76BAE6D36B}"/>
              </a:ext>
            </a:extLst>
          </p:cNvPr>
          <p:cNvSpPr/>
          <p:nvPr userDrawn="1"/>
        </p:nvSpPr>
        <p:spPr>
          <a:xfrm>
            <a:off x="0" y="6513372"/>
            <a:ext cx="9144000" cy="344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03" name="Рисунок 202">
            <a:extLst>
              <a:ext uri="{FF2B5EF4-FFF2-40B4-BE49-F238E27FC236}">
                <a16:creationId xmlns="" xmlns:a16="http://schemas.microsoft.com/office/drawing/2014/main" id="{46F6CD2D-455B-4AA6-B664-2856DC771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rot="5400000">
            <a:off x="3976088" y="1690090"/>
            <a:ext cx="6857998" cy="3477827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B3AC3F0A-03C0-440C-B09E-5BA2631577D9}"/>
              </a:ext>
            </a:extLst>
          </p:cNvPr>
          <p:cNvSpPr/>
          <p:nvPr userDrawn="1"/>
        </p:nvSpPr>
        <p:spPr>
          <a:xfrm>
            <a:off x="5204166" y="0"/>
            <a:ext cx="3939836" cy="6858000"/>
          </a:xfrm>
          <a:prstGeom prst="rect">
            <a:avLst/>
          </a:prstGeom>
          <a:gradFill flip="none" rotWithShape="1">
            <a:gsLst>
              <a:gs pos="23000">
                <a:schemeClr val="bg1"/>
              </a:gs>
              <a:gs pos="84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1927BAD-70BD-40C1-9B3F-441BBD87DC39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21581" y="1504176"/>
            <a:ext cx="6858000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7B4763A4-4C07-4899-B479-82EF9F79062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21581" y="3912059"/>
            <a:ext cx="6858000" cy="105443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/Докладчи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FDAEF56-1E7E-45B1-93CC-48992361C7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6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BD1388F7-DD0E-4A42-A71D-EC8697C6D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E6493E57-AB7C-4512-B587-91A5BA288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25B7FA35-208E-4F3A-9621-037F3C4EF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8" name="Group 159">
            <a:extLst>
              <a:ext uri="{FF2B5EF4-FFF2-40B4-BE49-F238E27FC236}">
                <a16:creationId xmlns="" xmlns:a16="http://schemas.microsoft.com/office/drawing/2014/main" id="{8A98CF5A-D970-40F0-BAF8-8A6F9147D9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11" name="Freeform 160">
              <a:extLst>
                <a:ext uri="{FF2B5EF4-FFF2-40B4-BE49-F238E27FC236}">
                  <a16:creationId xmlns="" xmlns:a16="http://schemas.microsoft.com/office/drawing/2014/main" id="{10FC935A-D332-4E0D-9294-E58BDECA50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161">
              <a:extLst>
                <a:ext uri="{FF2B5EF4-FFF2-40B4-BE49-F238E27FC236}">
                  <a16:creationId xmlns="" xmlns:a16="http://schemas.microsoft.com/office/drawing/2014/main" id="{553839A5-619E-4975-B2E3-77379CFD2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62">
              <a:extLst>
                <a:ext uri="{FF2B5EF4-FFF2-40B4-BE49-F238E27FC236}">
                  <a16:creationId xmlns="" xmlns:a16="http://schemas.microsoft.com/office/drawing/2014/main" id="{547C976D-BE36-40A7-8478-49ADC3A62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63">
              <a:extLst>
                <a:ext uri="{FF2B5EF4-FFF2-40B4-BE49-F238E27FC236}">
                  <a16:creationId xmlns="" xmlns:a16="http://schemas.microsoft.com/office/drawing/2014/main" id="{B6F7DC34-5AB6-4F86-8DA0-70C05388F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4">
              <a:extLst>
                <a:ext uri="{FF2B5EF4-FFF2-40B4-BE49-F238E27FC236}">
                  <a16:creationId xmlns="" xmlns:a16="http://schemas.microsoft.com/office/drawing/2014/main" id="{B22CBB69-264C-41FA-A253-64C00171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5">
              <a:extLst>
                <a:ext uri="{FF2B5EF4-FFF2-40B4-BE49-F238E27FC236}">
                  <a16:creationId xmlns="" xmlns:a16="http://schemas.microsoft.com/office/drawing/2014/main" id="{0C986E5E-7374-4B58-9249-3C015733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6">
              <a:extLst>
                <a:ext uri="{FF2B5EF4-FFF2-40B4-BE49-F238E27FC236}">
                  <a16:creationId xmlns="" xmlns:a16="http://schemas.microsoft.com/office/drawing/2014/main" id="{027BFC1B-4A84-4E3F-A911-41CBB7132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7">
              <a:extLst>
                <a:ext uri="{FF2B5EF4-FFF2-40B4-BE49-F238E27FC236}">
                  <a16:creationId xmlns="" xmlns:a16="http://schemas.microsoft.com/office/drawing/2014/main" id="{E2E7D74A-570F-4515-8734-557E837F9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8">
              <a:extLst>
                <a:ext uri="{FF2B5EF4-FFF2-40B4-BE49-F238E27FC236}">
                  <a16:creationId xmlns="" xmlns:a16="http://schemas.microsoft.com/office/drawing/2014/main" id="{89F61953-73B7-4EF1-A742-900C6DE8B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9">
              <a:extLst>
                <a:ext uri="{FF2B5EF4-FFF2-40B4-BE49-F238E27FC236}">
                  <a16:creationId xmlns="" xmlns:a16="http://schemas.microsoft.com/office/drawing/2014/main" id="{C89F7153-E361-49D7-B6BF-183891A71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70">
              <a:extLst>
                <a:ext uri="{FF2B5EF4-FFF2-40B4-BE49-F238E27FC236}">
                  <a16:creationId xmlns="" xmlns:a16="http://schemas.microsoft.com/office/drawing/2014/main" id="{94F8B6D3-52FA-44E1-BF55-C6309361D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71">
              <a:extLst>
                <a:ext uri="{FF2B5EF4-FFF2-40B4-BE49-F238E27FC236}">
                  <a16:creationId xmlns="" xmlns:a16="http://schemas.microsoft.com/office/drawing/2014/main" id="{2AD7BF99-84ED-4465-8845-5199AA2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72">
              <a:extLst>
                <a:ext uri="{FF2B5EF4-FFF2-40B4-BE49-F238E27FC236}">
                  <a16:creationId xmlns="" xmlns:a16="http://schemas.microsoft.com/office/drawing/2014/main" id="{4FF59DD4-92E1-40C9-AB58-24093B643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3">
              <a:extLst>
                <a:ext uri="{FF2B5EF4-FFF2-40B4-BE49-F238E27FC236}">
                  <a16:creationId xmlns="" xmlns:a16="http://schemas.microsoft.com/office/drawing/2014/main" id="{85C5B690-A9BF-46E6-95FE-18ADD7AC5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4">
              <a:extLst>
                <a:ext uri="{FF2B5EF4-FFF2-40B4-BE49-F238E27FC236}">
                  <a16:creationId xmlns="" xmlns:a16="http://schemas.microsoft.com/office/drawing/2014/main" id="{A83617E2-05CC-4D83-AA1D-D7526572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5">
              <a:extLst>
                <a:ext uri="{FF2B5EF4-FFF2-40B4-BE49-F238E27FC236}">
                  <a16:creationId xmlns="" xmlns:a16="http://schemas.microsoft.com/office/drawing/2014/main" id="{6D6AD54D-2C6C-47DF-BB13-365D2716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6">
              <a:extLst>
                <a:ext uri="{FF2B5EF4-FFF2-40B4-BE49-F238E27FC236}">
                  <a16:creationId xmlns="" xmlns:a16="http://schemas.microsoft.com/office/drawing/2014/main" id="{B74021FE-8254-4478-AC23-502E02E49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7">
              <a:extLst>
                <a:ext uri="{FF2B5EF4-FFF2-40B4-BE49-F238E27FC236}">
                  <a16:creationId xmlns="" xmlns:a16="http://schemas.microsoft.com/office/drawing/2014/main" id="{F2AFDE2B-C50A-4B9B-BB07-8F60E68A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8">
              <a:extLst>
                <a:ext uri="{FF2B5EF4-FFF2-40B4-BE49-F238E27FC236}">
                  <a16:creationId xmlns="" xmlns:a16="http://schemas.microsoft.com/office/drawing/2014/main" id="{DCCC2783-3C02-49CB-87D4-DC908C56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9">
              <a:extLst>
                <a:ext uri="{FF2B5EF4-FFF2-40B4-BE49-F238E27FC236}">
                  <a16:creationId xmlns="" xmlns:a16="http://schemas.microsoft.com/office/drawing/2014/main" id="{A6B8A450-EC46-4A99-9CDC-F72404A96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80">
              <a:extLst>
                <a:ext uri="{FF2B5EF4-FFF2-40B4-BE49-F238E27FC236}">
                  <a16:creationId xmlns="" xmlns:a16="http://schemas.microsoft.com/office/drawing/2014/main" id="{F62A5BD5-9EB6-40B2-8907-884BDEDE3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81">
              <a:extLst>
                <a:ext uri="{FF2B5EF4-FFF2-40B4-BE49-F238E27FC236}">
                  <a16:creationId xmlns="" xmlns:a16="http://schemas.microsoft.com/office/drawing/2014/main" id="{BE2260B5-78AA-4165-B021-D450CF90B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82">
              <a:extLst>
                <a:ext uri="{FF2B5EF4-FFF2-40B4-BE49-F238E27FC236}">
                  <a16:creationId xmlns="" xmlns:a16="http://schemas.microsoft.com/office/drawing/2014/main" id="{9F3F3C4A-CC72-44B5-85AD-B32ECF307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3">
              <a:extLst>
                <a:ext uri="{FF2B5EF4-FFF2-40B4-BE49-F238E27FC236}">
                  <a16:creationId xmlns="" xmlns:a16="http://schemas.microsoft.com/office/drawing/2014/main" id="{9BBD442A-E7CE-4B7C-9916-206D33CC0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4">
              <a:extLst>
                <a:ext uri="{FF2B5EF4-FFF2-40B4-BE49-F238E27FC236}">
                  <a16:creationId xmlns="" xmlns:a16="http://schemas.microsoft.com/office/drawing/2014/main" id="{08ACA5A7-3DBF-4202-B710-9AC3E7F1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5">
              <a:extLst>
                <a:ext uri="{FF2B5EF4-FFF2-40B4-BE49-F238E27FC236}">
                  <a16:creationId xmlns="" xmlns:a16="http://schemas.microsoft.com/office/drawing/2014/main" id="{98DDDDD8-E55E-4EE5-85D6-8F4562024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6">
              <a:extLst>
                <a:ext uri="{FF2B5EF4-FFF2-40B4-BE49-F238E27FC236}">
                  <a16:creationId xmlns="" xmlns:a16="http://schemas.microsoft.com/office/drawing/2014/main" id="{877A4B4B-D40D-4DC0-B230-627DD1EF2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7">
              <a:extLst>
                <a:ext uri="{FF2B5EF4-FFF2-40B4-BE49-F238E27FC236}">
                  <a16:creationId xmlns="" xmlns:a16="http://schemas.microsoft.com/office/drawing/2014/main" id="{D33B4977-86E6-4811-8741-2E5C48B71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8">
              <a:extLst>
                <a:ext uri="{FF2B5EF4-FFF2-40B4-BE49-F238E27FC236}">
                  <a16:creationId xmlns="" xmlns:a16="http://schemas.microsoft.com/office/drawing/2014/main" id="{948CB7DE-5097-413B-8155-C3384D288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9">
              <a:extLst>
                <a:ext uri="{FF2B5EF4-FFF2-40B4-BE49-F238E27FC236}">
                  <a16:creationId xmlns="" xmlns:a16="http://schemas.microsoft.com/office/drawing/2014/main" id="{64F750D6-F4BD-48CC-93AC-6CB0ECC44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90">
              <a:extLst>
                <a:ext uri="{FF2B5EF4-FFF2-40B4-BE49-F238E27FC236}">
                  <a16:creationId xmlns="" xmlns:a16="http://schemas.microsoft.com/office/drawing/2014/main" id="{02B79F08-6F39-4CC3-A00B-07A05F196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91">
              <a:extLst>
                <a:ext uri="{FF2B5EF4-FFF2-40B4-BE49-F238E27FC236}">
                  <a16:creationId xmlns="" xmlns:a16="http://schemas.microsoft.com/office/drawing/2014/main" id="{6B1CB7E5-A963-4E39-8678-B2BF53A9D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92">
              <a:extLst>
                <a:ext uri="{FF2B5EF4-FFF2-40B4-BE49-F238E27FC236}">
                  <a16:creationId xmlns="" xmlns:a16="http://schemas.microsoft.com/office/drawing/2014/main" id="{9A5E1424-4241-4396-8A87-26B2512CB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3">
              <a:extLst>
                <a:ext uri="{FF2B5EF4-FFF2-40B4-BE49-F238E27FC236}">
                  <a16:creationId xmlns="" xmlns:a16="http://schemas.microsoft.com/office/drawing/2014/main" id="{9882D67D-139A-4D98-93B7-ECF771AAB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4">
              <a:extLst>
                <a:ext uri="{FF2B5EF4-FFF2-40B4-BE49-F238E27FC236}">
                  <a16:creationId xmlns="" xmlns:a16="http://schemas.microsoft.com/office/drawing/2014/main" id="{71BF6CDC-F281-48A3-B737-D4E51085F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5">
              <a:extLst>
                <a:ext uri="{FF2B5EF4-FFF2-40B4-BE49-F238E27FC236}">
                  <a16:creationId xmlns="" xmlns:a16="http://schemas.microsoft.com/office/drawing/2014/main" id="{321FD731-6686-45AC-AD8D-AF3E12673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6">
              <a:extLst>
                <a:ext uri="{FF2B5EF4-FFF2-40B4-BE49-F238E27FC236}">
                  <a16:creationId xmlns="" xmlns:a16="http://schemas.microsoft.com/office/drawing/2014/main" id="{DC5F01BC-F9A3-4A4F-83B0-AA211E60B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7">
              <a:extLst>
                <a:ext uri="{FF2B5EF4-FFF2-40B4-BE49-F238E27FC236}">
                  <a16:creationId xmlns="" xmlns:a16="http://schemas.microsoft.com/office/drawing/2014/main" id="{CEDC2FA0-0108-47C9-A318-507C6F78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8">
              <a:extLst>
                <a:ext uri="{FF2B5EF4-FFF2-40B4-BE49-F238E27FC236}">
                  <a16:creationId xmlns="" xmlns:a16="http://schemas.microsoft.com/office/drawing/2014/main" id="{1E1CB0E0-836E-4086-8762-7C80B2E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9">
              <a:extLst>
                <a:ext uri="{FF2B5EF4-FFF2-40B4-BE49-F238E27FC236}">
                  <a16:creationId xmlns="" xmlns:a16="http://schemas.microsoft.com/office/drawing/2014/main" id="{605D9605-4B12-4716-BA38-1AD0B85D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200">
              <a:extLst>
                <a:ext uri="{FF2B5EF4-FFF2-40B4-BE49-F238E27FC236}">
                  <a16:creationId xmlns="" xmlns:a16="http://schemas.microsoft.com/office/drawing/2014/main" id="{25B0D24E-F38B-4CEE-AEBA-A522C19D3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201">
              <a:extLst>
                <a:ext uri="{FF2B5EF4-FFF2-40B4-BE49-F238E27FC236}">
                  <a16:creationId xmlns="" xmlns:a16="http://schemas.microsoft.com/office/drawing/2014/main" id="{4B7A7232-8733-4A78-B4E1-3A51EEF71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202">
              <a:extLst>
                <a:ext uri="{FF2B5EF4-FFF2-40B4-BE49-F238E27FC236}">
                  <a16:creationId xmlns="" xmlns:a16="http://schemas.microsoft.com/office/drawing/2014/main" id="{7A01F381-CCA2-47FD-ADA8-FF90386F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3">
              <a:extLst>
                <a:ext uri="{FF2B5EF4-FFF2-40B4-BE49-F238E27FC236}">
                  <a16:creationId xmlns="" xmlns:a16="http://schemas.microsoft.com/office/drawing/2014/main" id="{83B8408B-6632-4793-A787-8377B7516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4">
              <a:extLst>
                <a:ext uri="{FF2B5EF4-FFF2-40B4-BE49-F238E27FC236}">
                  <a16:creationId xmlns="" xmlns:a16="http://schemas.microsoft.com/office/drawing/2014/main" id="{01C4B914-3B0D-4217-903F-E6CC8BD65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5">
              <a:extLst>
                <a:ext uri="{FF2B5EF4-FFF2-40B4-BE49-F238E27FC236}">
                  <a16:creationId xmlns="" xmlns:a16="http://schemas.microsoft.com/office/drawing/2014/main" id="{D32549A9-73BD-4855-8064-D4E6CD0D5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6">
              <a:extLst>
                <a:ext uri="{FF2B5EF4-FFF2-40B4-BE49-F238E27FC236}">
                  <a16:creationId xmlns="" xmlns:a16="http://schemas.microsoft.com/office/drawing/2014/main" id="{C353EC8D-DE63-48B5-B968-3DC34EB2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7">
              <a:extLst>
                <a:ext uri="{FF2B5EF4-FFF2-40B4-BE49-F238E27FC236}">
                  <a16:creationId xmlns="" xmlns:a16="http://schemas.microsoft.com/office/drawing/2014/main" id="{D173B9B5-E375-4A23-864D-EEF2FF4A1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8">
              <a:extLst>
                <a:ext uri="{FF2B5EF4-FFF2-40B4-BE49-F238E27FC236}">
                  <a16:creationId xmlns="" xmlns:a16="http://schemas.microsoft.com/office/drawing/2014/main" id="{85456A59-6DF9-4598-8E1B-2BDEE0FF6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9">
              <a:extLst>
                <a:ext uri="{FF2B5EF4-FFF2-40B4-BE49-F238E27FC236}">
                  <a16:creationId xmlns="" xmlns:a16="http://schemas.microsoft.com/office/drawing/2014/main" id="{F0EBC6D7-AC57-44F3-86BF-9E36B734D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10">
              <a:extLst>
                <a:ext uri="{FF2B5EF4-FFF2-40B4-BE49-F238E27FC236}">
                  <a16:creationId xmlns="" xmlns:a16="http://schemas.microsoft.com/office/drawing/2014/main" id="{2F0CFA99-0ABC-4F0E-8D7F-DBDA0FDD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11">
              <a:extLst>
                <a:ext uri="{FF2B5EF4-FFF2-40B4-BE49-F238E27FC236}">
                  <a16:creationId xmlns="" xmlns:a16="http://schemas.microsoft.com/office/drawing/2014/main" id="{581590A2-9474-4C14-8D96-6DCDC13B9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12">
              <a:extLst>
                <a:ext uri="{FF2B5EF4-FFF2-40B4-BE49-F238E27FC236}">
                  <a16:creationId xmlns="" xmlns:a16="http://schemas.microsoft.com/office/drawing/2014/main" id="{8C9DF260-F1B2-4CCD-90A1-B0B84185C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3">
              <a:extLst>
                <a:ext uri="{FF2B5EF4-FFF2-40B4-BE49-F238E27FC236}">
                  <a16:creationId xmlns="" xmlns:a16="http://schemas.microsoft.com/office/drawing/2014/main" id="{79DF02C7-05CC-4AE9-A74E-3800A5A0D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4">
              <a:extLst>
                <a:ext uri="{FF2B5EF4-FFF2-40B4-BE49-F238E27FC236}">
                  <a16:creationId xmlns="" xmlns:a16="http://schemas.microsoft.com/office/drawing/2014/main" id="{0A247243-5124-4504-91E8-5E6E14C5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5">
              <a:extLst>
                <a:ext uri="{FF2B5EF4-FFF2-40B4-BE49-F238E27FC236}">
                  <a16:creationId xmlns="" xmlns:a16="http://schemas.microsoft.com/office/drawing/2014/main" id="{F2E92E90-A9CE-4732-B171-8BC126843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6">
              <a:extLst>
                <a:ext uri="{FF2B5EF4-FFF2-40B4-BE49-F238E27FC236}">
                  <a16:creationId xmlns="" xmlns:a16="http://schemas.microsoft.com/office/drawing/2014/main" id="{3AF0E1B8-2E0E-4759-B5BF-467911B8D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7">
              <a:extLst>
                <a:ext uri="{FF2B5EF4-FFF2-40B4-BE49-F238E27FC236}">
                  <a16:creationId xmlns="" xmlns:a16="http://schemas.microsoft.com/office/drawing/2014/main" id="{DF0B6641-5C69-444B-A036-13D5B046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8">
              <a:extLst>
                <a:ext uri="{FF2B5EF4-FFF2-40B4-BE49-F238E27FC236}">
                  <a16:creationId xmlns="" xmlns:a16="http://schemas.microsoft.com/office/drawing/2014/main" id="{396E76DA-B565-475B-B298-D369AB7D1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9">
              <a:extLst>
                <a:ext uri="{FF2B5EF4-FFF2-40B4-BE49-F238E27FC236}">
                  <a16:creationId xmlns="" xmlns:a16="http://schemas.microsoft.com/office/drawing/2014/main" id="{7D5346E7-3D4D-4D17-BE1B-2E04FF16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20">
              <a:extLst>
                <a:ext uri="{FF2B5EF4-FFF2-40B4-BE49-F238E27FC236}">
                  <a16:creationId xmlns="" xmlns:a16="http://schemas.microsoft.com/office/drawing/2014/main" id="{64E2B712-7D69-4FDB-8BE1-4D1882F38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21">
              <a:extLst>
                <a:ext uri="{FF2B5EF4-FFF2-40B4-BE49-F238E27FC236}">
                  <a16:creationId xmlns="" xmlns:a16="http://schemas.microsoft.com/office/drawing/2014/main" id="{7CC813E8-C87B-42C0-A648-B82F1C4F8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22">
              <a:extLst>
                <a:ext uri="{FF2B5EF4-FFF2-40B4-BE49-F238E27FC236}">
                  <a16:creationId xmlns="" xmlns:a16="http://schemas.microsoft.com/office/drawing/2014/main" id="{808AFB0F-E59D-4C1C-915A-3F5B06E12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3">
              <a:extLst>
                <a:ext uri="{FF2B5EF4-FFF2-40B4-BE49-F238E27FC236}">
                  <a16:creationId xmlns="" xmlns:a16="http://schemas.microsoft.com/office/drawing/2014/main" id="{F7591709-05D5-461B-8389-36DE195B6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4">
              <a:extLst>
                <a:ext uri="{FF2B5EF4-FFF2-40B4-BE49-F238E27FC236}">
                  <a16:creationId xmlns="" xmlns:a16="http://schemas.microsoft.com/office/drawing/2014/main" id="{DF1B99A0-D09F-4D40-A1A1-0928A4EE2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5">
              <a:extLst>
                <a:ext uri="{FF2B5EF4-FFF2-40B4-BE49-F238E27FC236}">
                  <a16:creationId xmlns="" xmlns:a16="http://schemas.microsoft.com/office/drawing/2014/main" id="{AE2610BA-D09E-4B59-8DD0-0F6DE6CF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6">
              <a:extLst>
                <a:ext uri="{FF2B5EF4-FFF2-40B4-BE49-F238E27FC236}">
                  <a16:creationId xmlns="" xmlns:a16="http://schemas.microsoft.com/office/drawing/2014/main" id="{D0560A71-352F-4B43-8D92-57171CB3B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7">
              <a:extLst>
                <a:ext uri="{FF2B5EF4-FFF2-40B4-BE49-F238E27FC236}">
                  <a16:creationId xmlns="" xmlns:a16="http://schemas.microsoft.com/office/drawing/2014/main" id="{0D100414-3183-4CFA-A0CA-B71BC8E2B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8">
              <a:extLst>
                <a:ext uri="{FF2B5EF4-FFF2-40B4-BE49-F238E27FC236}">
                  <a16:creationId xmlns="" xmlns:a16="http://schemas.microsoft.com/office/drawing/2014/main" id="{17E491AA-2FDC-44DD-8966-38B98A421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9">
              <a:extLst>
                <a:ext uri="{FF2B5EF4-FFF2-40B4-BE49-F238E27FC236}">
                  <a16:creationId xmlns="" xmlns:a16="http://schemas.microsoft.com/office/drawing/2014/main" id="{A21A290E-1F14-48BA-84B7-F464928AA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30">
              <a:extLst>
                <a:ext uri="{FF2B5EF4-FFF2-40B4-BE49-F238E27FC236}">
                  <a16:creationId xmlns="" xmlns:a16="http://schemas.microsoft.com/office/drawing/2014/main" id="{740BD19D-3234-4AAF-8393-1E40E6352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31">
              <a:extLst>
                <a:ext uri="{FF2B5EF4-FFF2-40B4-BE49-F238E27FC236}">
                  <a16:creationId xmlns="" xmlns:a16="http://schemas.microsoft.com/office/drawing/2014/main" id="{87F474AE-C174-4EFC-8ECD-6BDBCACDB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32">
              <a:extLst>
                <a:ext uri="{FF2B5EF4-FFF2-40B4-BE49-F238E27FC236}">
                  <a16:creationId xmlns="" xmlns:a16="http://schemas.microsoft.com/office/drawing/2014/main" id="{5DBDCD3C-4247-49A1-8924-81957170B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3">
              <a:extLst>
                <a:ext uri="{FF2B5EF4-FFF2-40B4-BE49-F238E27FC236}">
                  <a16:creationId xmlns="" xmlns:a16="http://schemas.microsoft.com/office/drawing/2014/main" id="{694288C1-A1DC-4878-8A9B-7756F4CEE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4">
              <a:extLst>
                <a:ext uri="{FF2B5EF4-FFF2-40B4-BE49-F238E27FC236}">
                  <a16:creationId xmlns="" xmlns:a16="http://schemas.microsoft.com/office/drawing/2014/main" id="{CB49AAAE-DAB7-4802-A8B5-BE81F318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5">
              <a:extLst>
                <a:ext uri="{FF2B5EF4-FFF2-40B4-BE49-F238E27FC236}">
                  <a16:creationId xmlns="" xmlns:a16="http://schemas.microsoft.com/office/drawing/2014/main" id="{C04E93B6-B56A-4B49-92F2-121D534F5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6">
              <a:extLst>
                <a:ext uri="{FF2B5EF4-FFF2-40B4-BE49-F238E27FC236}">
                  <a16:creationId xmlns="" xmlns:a16="http://schemas.microsoft.com/office/drawing/2014/main" id="{4502ADAC-CF41-4DAD-8095-CF16C17F6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7">
              <a:extLst>
                <a:ext uri="{FF2B5EF4-FFF2-40B4-BE49-F238E27FC236}">
                  <a16:creationId xmlns="" xmlns:a16="http://schemas.microsoft.com/office/drawing/2014/main" id="{EC4B3E73-B621-4F29-AE7B-347DC1C74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8">
              <a:extLst>
                <a:ext uri="{FF2B5EF4-FFF2-40B4-BE49-F238E27FC236}">
                  <a16:creationId xmlns="" xmlns:a16="http://schemas.microsoft.com/office/drawing/2014/main" id="{178386EE-1DDF-4322-A9AD-B943C7FC4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9">
              <a:extLst>
                <a:ext uri="{FF2B5EF4-FFF2-40B4-BE49-F238E27FC236}">
                  <a16:creationId xmlns="" xmlns:a16="http://schemas.microsoft.com/office/drawing/2014/main" id="{0F0DCA45-1E74-4CEB-BF0D-D9E0356F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40">
              <a:extLst>
                <a:ext uri="{FF2B5EF4-FFF2-40B4-BE49-F238E27FC236}">
                  <a16:creationId xmlns="" xmlns:a16="http://schemas.microsoft.com/office/drawing/2014/main" id="{2117896E-4D8C-47FF-9486-2D69D85F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41">
              <a:extLst>
                <a:ext uri="{FF2B5EF4-FFF2-40B4-BE49-F238E27FC236}">
                  <a16:creationId xmlns="" xmlns:a16="http://schemas.microsoft.com/office/drawing/2014/main" id="{C0271F29-F1EA-4AB6-8DCD-F9547C0B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42">
              <a:extLst>
                <a:ext uri="{FF2B5EF4-FFF2-40B4-BE49-F238E27FC236}">
                  <a16:creationId xmlns="" xmlns:a16="http://schemas.microsoft.com/office/drawing/2014/main" id="{A6B346F5-AD81-424B-9926-B948B233A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3">
              <a:extLst>
                <a:ext uri="{FF2B5EF4-FFF2-40B4-BE49-F238E27FC236}">
                  <a16:creationId xmlns="" xmlns:a16="http://schemas.microsoft.com/office/drawing/2014/main" id="{96B4DEBF-A3B1-4137-AF38-0B294D23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4">
              <a:extLst>
                <a:ext uri="{FF2B5EF4-FFF2-40B4-BE49-F238E27FC236}">
                  <a16:creationId xmlns="" xmlns:a16="http://schemas.microsoft.com/office/drawing/2014/main" id="{E9874280-AF20-4A17-A255-2F587D00D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5">
              <a:extLst>
                <a:ext uri="{FF2B5EF4-FFF2-40B4-BE49-F238E27FC236}">
                  <a16:creationId xmlns="" xmlns:a16="http://schemas.microsoft.com/office/drawing/2014/main" id="{DBBF128F-C0AB-4865-A2F0-65912150F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6">
              <a:extLst>
                <a:ext uri="{FF2B5EF4-FFF2-40B4-BE49-F238E27FC236}">
                  <a16:creationId xmlns="" xmlns:a16="http://schemas.microsoft.com/office/drawing/2014/main" id="{A346A1F4-BBC6-4ED8-B744-BE05B651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7">
              <a:extLst>
                <a:ext uri="{FF2B5EF4-FFF2-40B4-BE49-F238E27FC236}">
                  <a16:creationId xmlns="" xmlns:a16="http://schemas.microsoft.com/office/drawing/2014/main" id="{28C17B6D-48CA-4DC7-9636-F730E9662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8">
              <a:extLst>
                <a:ext uri="{FF2B5EF4-FFF2-40B4-BE49-F238E27FC236}">
                  <a16:creationId xmlns="" xmlns:a16="http://schemas.microsoft.com/office/drawing/2014/main" id="{F3C1A1AC-C04B-4F43-AE05-C31984364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9">
              <a:extLst>
                <a:ext uri="{FF2B5EF4-FFF2-40B4-BE49-F238E27FC236}">
                  <a16:creationId xmlns="" xmlns:a16="http://schemas.microsoft.com/office/drawing/2014/main" id="{B694E0D3-5E42-4A87-91F2-72A2E0BA3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50">
              <a:extLst>
                <a:ext uri="{FF2B5EF4-FFF2-40B4-BE49-F238E27FC236}">
                  <a16:creationId xmlns="" xmlns:a16="http://schemas.microsoft.com/office/drawing/2014/main" id="{0A50710D-ECE7-4B7B-AE1D-675A637FE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51">
              <a:extLst>
                <a:ext uri="{FF2B5EF4-FFF2-40B4-BE49-F238E27FC236}">
                  <a16:creationId xmlns="" xmlns:a16="http://schemas.microsoft.com/office/drawing/2014/main" id="{19CC7084-2546-4AA5-812C-92D97D2E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52">
              <a:extLst>
                <a:ext uri="{FF2B5EF4-FFF2-40B4-BE49-F238E27FC236}">
                  <a16:creationId xmlns="" xmlns:a16="http://schemas.microsoft.com/office/drawing/2014/main" id="{5E6AE100-A7BD-436A-A252-528C61F27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3">
              <a:extLst>
                <a:ext uri="{FF2B5EF4-FFF2-40B4-BE49-F238E27FC236}">
                  <a16:creationId xmlns="" xmlns:a16="http://schemas.microsoft.com/office/drawing/2014/main" id="{CE206D04-B486-4BD8-9DC6-17C16FB55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4">
              <a:extLst>
                <a:ext uri="{FF2B5EF4-FFF2-40B4-BE49-F238E27FC236}">
                  <a16:creationId xmlns="" xmlns:a16="http://schemas.microsoft.com/office/drawing/2014/main" id="{92193D0B-44E1-4013-B9F4-F9EC845EF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5">
              <a:extLst>
                <a:ext uri="{FF2B5EF4-FFF2-40B4-BE49-F238E27FC236}">
                  <a16:creationId xmlns="" xmlns:a16="http://schemas.microsoft.com/office/drawing/2014/main" id="{F58B010E-8EB3-4645-A050-A9E498A7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6">
              <a:extLst>
                <a:ext uri="{FF2B5EF4-FFF2-40B4-BE49-F238E27FC236}">
                  <a16:creationId xmlns="" xmlns:a16="http://schemas.microsoft.com/office/drawing/2014/main" id="{B19D78AB-415E-4036-8A74-0D9A8E8B6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7">
              <a:extLst>
                <a:ext uri="{FF2B5EF4-FFF2-40B4-BE49-F238E27FC236}">
                  <a16:creationId xmlns="" xmlns:a16="http://schemas.microsoft.com/office/drawing/2014/main" id="{0CA12F89-3030-4810-8D27-54C7603BF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8">
              <a:extLst>
                <a:ext uri="{FF2B5EF4-FFF2-40B4-BE49-F238E27FC236}">
                  <a16:creationId xmlns="" xmlns:a16="http://schemas.microsoft.com/office/drawing/2014/main" id="{CB6ED188-DEC0-446C-B2F1-FD31717A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9">
              <a:extLst>
                <a:ext uri="{FF2B5EF4-FFF2-40B4-BE49-F238E27FC236}">
                  <a16:creationId xmlns="" xmlns:a16="http://schemas.microsoft.com/office/drawing/2014/main" id="{7594D2BB-280A-4A7D-998A-E4F2B642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60">
              <a:extLst>
                <a:ext uri="{FF2B5EF4-FFF2-40B4-BE49-F238E27FC236}">
                  <a16:creationId xmlns="" xmlns:a16="http://schemas.microsoft.com/office/drawing/2014/main" id="{76CEA0A0-BDE9-4C14-BD90-0F68FB40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61">
              <a:extLst>
                <a:ext uri="{FF2B5EF4-FFF2-40B4-BE49-F238E27FC236}">
                  <a16:creationId xmlns="" xmlns:a16="http://schemas.microsoft.com/office/drawing/2014/main" id="{0C4B692B-3A6A-4684-8253-536E67161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62">
              <a:extLst>
                <a:ext uri="{FF2B5EF4-FFF2-40B4-BE49-F238E27FC236}">
                  <a16:creationId xmlns="" xmlns:a16="http://schemas.microsoft.com/office/drawing/2014/main" id="{694E952B-4D66-473C-B0EA-ED8B5E4F0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3">
              <a:extLst>
                <a:ext uri="{FF2B5EF4-FFF2-40B4-BE49-F238E27FC236}">
                  <a16:creationId xmlns="" xmlns:a16="http://schemas.microsoft.com/office/drawing/2014/main" id="{668B1E09-DDDD-438C-B694-DF582918F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4">
              <a:extLst>
                <a:ext uri="{FF2B5EF4-FFF2-40B4-BE49-F238E27FC236}">
                  <a16:creationId xmlns="" xmlns:a16="http://schemas.microsoft.com/office/drawing/2014/main" id="{1F9EF179-3009-42BC-BFBF-975DF8C9F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5">
              <a:extLst>
                <a:ext uri="{FF2B5EF4-FFF2-40B4-BE49-F238E27FC236}">
                  <a16:creationId xmlns="" xmlns:a16="http://schemas.microsoft.com/office/drawing/2014/main" id="{FFB60088-5CA1-471A-B417-630B8EB97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6">
              <a:extLst>
                <a:ext uri="{FF2B5EF4-FFF2-40B4-BE49-F238E27FC236}">
                  <a16:creationId xmlns="" xmlns:a16="http://schemas.microsoft.com/office/drawing/2014/main" id="{75720D33-2F78-4B96-BDBE-F0ECE329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7">
              <a:extLst>
                <a:ext uri="{FF2B5EF4-FFF2-40B4-BE49-F238E27FC236}">
                  <a16:creationId xmlns="" xmlns:a16="http://schemas.microsoft.com/office/drawing/2014/main" id="{C8D3D98D-6A75-41AB-A725-637B60D1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8">
              <a:extLst>
                <a:ext uri="{FF2B5EF4-FFF2-40B4-BE49-F238E27FC236}">
                  <a16:creationId xmlns="" xmlns:a16="http://schemas.microsoft.com/office/drawing/2014/main" id="{20F62CE4-FEA7-4C79-BC4A-EE2E2CF76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9">
              <a:extLst>
                <a:ext uri="{FF2B5EF4-FFF2-40B4-BE49-F238E27FC236}">
                  <a16:creationId xmlns="" xmlns:a16="http://schemas.microsoft.com/office/drawing/2014/main" id="{E9029E94-BB43-4B76-BE6D-BEE8969AA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70">
              <a:extLst>
                <a:ext uri="{FF2B5EF4-FFF2-40B4-BE49-F238E27FC236}">
                  <a16:creationId xmlns="" xmlns:a16="http://schemas.microsoft.com/office/drawing/2014/main" id="{63BE4AE8-1CFE-4D81-A804-1A4615334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71">
              <a:extLst>
                <a:ext uri="{FF2B5EF4-FFF2-40B4-BE49-F238E27FC236}">
                  <a16:creationId xmlns="" xmlns:a16="http://schemas.microsoft.com/office/drawing/2014/main" id="{381CBFB3-B99B-4C14-B7AB-8488C43A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72">
              <a:extLst>
                <a:ext uri="{FF2B5EF4-FFF2-40B4-BE49-F238E27FC236}">
                  <a16:creationId xmlns="" xmlns:a16="http://schemas.microsoft.com/office/drawing/2014/main" id="{7745D9AD-DA4E-4D9F-9040-6FAC72B1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3">
              <a:extLst>
                <a:ext uri="{FF2B5EF4-FFF2-40B4-BE49-F238E27FC236}">
                  <a16:creationId xmlns="" xmlns:a16="http://schemas.microsoft.com/office/drawing/2014/main" id="{B9E3042B-2A38-4C8C-85F1-48C58CCB7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4">
              <a:extLst>
                <a:ext uri="{FF2B5EF4-FFF2-40B4-BE49-F238E27FC236}">
                  <a16:creationId xmlns="" xmlns:a16="http://schemas.microsoft.com/office/drawing/2014/main" id="{8233C820-B342-43E5-AE8B-80C2B079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5">
              <a:extLst>
                <a:ext uri="{FF2B5EF4-FFF2-40B4-BE49-F238E27FC236}">
                  <a16:creationId xmlns="" xmlns:a16="http://schemas.microsoft.com/office/drawing/2014/main" id="{E21F766D-9833-41C8-A752-4274A61B8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6">
              <a:extLst>
                <a:ext uri="{FF2B5EF4-FFF2-40B4-BE49-F238E27FC236}">
                  <a16:creationId xmlns="" xmlns:a16="http://schemas.microsoft.com/office/drawing/2014/main" id="{B13296EB-27E8-4900-B110-077E9EF9A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7">
              <a:extLst>
                <a:ext uri="{FF2B5EF4-FFF2-40B4-BE49-F238E27FC236}">
                  <a16:creationId xmlns="" xmlns:a16="http://schemas.microsoft.com/office/drawing/2014/main" id="{5BEB32E2-DB82-4AFC-A6C4-1AB88DD00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8">
              <a:extLst>
                <a:ext uri="{FF2B5EF4-FFF2-40B4-BE49-F238E27FC236}">
                  <a16:creationId xmlns="" xmlns:a16="http://schemas.microsoft.com/office/drawing/2014/main" id="{E18BF71D-C91A-42B0-B274-6113619BD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9">
              <a:extLst>
                <a:ext uri="{FF2B5EF4-FFF2-40B4-BE49-F238E27FC236}">
                  <a16:creationId xmlns="" xmlns:a16="http://schemas.microsoft.com/office/drawing/2014/main" id="{77220908-8037-4EBE-A84F-6E7D79861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80">
              <a:extLst>
                <a:ext uri="{FF2B5EF4-FFF2-40B4-BE49-F238E27FC236}">
                  <a16:creationId xmlns="" xmlns:a16="http://schemas.microsoft.com/office/drawing/2014/main" id="{4C84D105-E7A0-4342-86F0-9D53BFFBE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81">
              <a:extLst>
                <a:ext uri="{FF2B5EF4-FFF2-40B4-BE49-F238E27FC236}">
                  <a16:creationId xmlns="" xmlns:a16="http://schemas.microsoft.com/office/drawing/2014/main" id="{14EB2F71-F4D0-4950-91E7-5FAFDD6DA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82">
              <a:extLst>
                <a:ext uri="{FF2B5EF4-FFF2-40B4-BE49-F238E27FC236}">
                  <a16:creationId xmlns="" xmlns:a16="http://schemas.microsoft.com/office/drawing/2014/main" id="{108FC532-7C78-42C5-860A-C4F7CDE6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3">
              <a:extLst>
                <a:ext uri="{FF2B5EF4-FFF2-40B4-BE49-F238E27FC236}">
                  <a16:creationId xmlns="" xmlns:a16="http://schemas.microsoft.com/office/drawing/2014/main" id="{649C1A5D-8B22-4A91-8EC6-4CAEA19A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4">
              <a:extLst>
                <a:ext uri="{FF2B5EF4-FFF2-40B4-BE49-F238E27FC236}">
                  <a16:creationId xmlns="" xmlns:a16="http://schemas.microsoft.com/office/drawing/2014/main" id="{E6CB14F3-20E1-46F9-8D1E-2EEA7C6E6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5">
              <a:extLst>
                <a:ext uri="{FF2B5EF4-FFF2-40B4-BE49-F238E27FC236}">
                  <a16:creationId xmlns="" xmlns:a16="http://schemas.microsoft.com/office/drawing/2014/main" id="{6710429E-139A-424C-B121-9E4F78B31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6">
              <a:extLst>
                <a:ext uri="{FF2B5EF4-FFF2-40B4-BE49-F238E27FC236}">
                  <a16:creationId xmlns="" xmlns:a16="http://schemas.microsoft.com/office/drawing/2014/main" id="{3EE27BB3-922B-493B-8E3D-8D56991B9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7">
              <a:extLst>
                <a:ext uri="{FF2B5EF4-FFF2-40B4-BE49-F238E27FC236}">
                  <a16:creationId xmlns="" xmlns:a16="http://schemas.microsoft.com/office/drawing/2014/main" id="{B7D3AB49-50D8-4504-8AC1-907D37A62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8">
              <a:extLst>
                <a:ext uri="{FF2B5EF4-FFF2-40B4-BE49-F238E27FC236}">
                  <a16:creationId xmlns="" xmlns:a16="http://schemas.microsoft.com/office/drawing/2014/main" id="{4F6ACB53-FA8D-424B-984D-01AFC20A2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9">
              <a:extLst>
                <a:ext uri="{FF2B5EF4-FFF2-40B4-BE49-F238E27FC236}">
                  <a16:creationId xmlns="" xmlns:a16="http://schemas.microsoft.com/office/drawing/2014/main" id="{FD3987F3-1C4D-45EB-83D7-1E964E6D8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90">
              <a:extLst>
                <a:ext uri="{FF2B5EF4-FFF2-40B4-BE49-F238E27FC236}">
                  <a16:creationId xmlns="" xmlns:a16="http://schemas.microsoft.com/office/drawing/2014/main" id="{473524D3-E8CA-4000-B3A1-699E95C5A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91">
              <a:extLst>
                <a:ext uri="{FF2B5EF4-FFF2-40B4-BE49-F238E27FC236}">
                  <a16:creationId xmlns="" xmlns:a16="http://schemas.microsoft.com/office/drawing/2014/main" id="{2EC29348-5670-4FBA-A6C4-3D98F0E2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92">
              <a:extLst>
                <a:ext uri="{FF2B5EF4-FFF2-40B4-BE49-F238E27FC236}">
                  <a16:creationId xmlns="" xmlns:a16="http://schemas.microsoft.com/office/drawing/2014/main" id="{75868046-A72C-4A08-B0E1-BAD2DA0A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3">
              <a:extLst>
                <a:ext uri="{FF2B5EF4-FFF2-40B4-BE49-F238E27FC236}">
                  <a16:creationId xmlns="" xmlns:a16="http://schemas.microsoft.com/office/drawing/2014/main" id="{4A1C8766-B616-451B-814D-24A39903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4">
              <a:extLst>
                <a:ext uri="{FF2B5EF4-FFF2-40B4-BE49-F238E27FC236}">
                  <a16:creationId xmlns="" xmlns:a16="http://schemas.microsoft.com/office/drawing/2014/main" id="{1A4BE9B9-2C1A-42D7-95B1-F6741E2EC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5">
              <a:extLst>
                <a:ext uri="{FF2B5EF4-FFF2-40B4-BE49-F238E27FC236}">
                  <a16:creationId xmlns="" xmlns:a16="http://schemas.microsoft.com/office/drawing/2014/main" id="{EBBEEB5E-9872-42D6-8FBF-DABE259C4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6">
              <a:extLst>
                <a:ext uri="{FF2B5EF4-FFF2-40B4-BE49-F238E27FC236}">
                  <a16:creationId xmlns="" xmlns:a16="http://schemas.microsoft.com/office/drawing/2014/main" id="{FDF40B64-2212-4FE4-BFF1-1AB806012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7">
              <a:extLst>
                <a:ext uri="{FF2B5EF4-FFF2-40B4-BE49-F238E27FC236}">
                  <a16:creationId xmlns="" xmlns:a16="http://schemas.microsoft.com/office/drawing/2014/main" id="{BADB46E0-1CB1-443D-975E-CF405E813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8">
              <a:extLst>
                <a:ext uri="{FF2B5EF4-FFF2-40B4-BE49-F238E27FC236}">
                  <a16:creationId xmlns="" xmlns:a16="http://schemas.microsoft.com/office/drawing/2014/main" id="{3496F68A-9BF5-4B74-A338-3966A0C6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9">
              <a:extLst>
                <a:ext uri="{FF2B5EF4-FFF2-40B4-BE49-F238E27FC236}">
                  <a16:creationId xmlns="" xmlns:a16="http://schemas.microsoft.com/office/drawing/2014/main" id="{335610E9-BAEB-41B8-8FFA-7D042DD43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300">
              <a:extLst>
                <a:ext uri="{FF2B5EF4-FFF2-40B4-BE49-F238E27FC236}">
                  <a16:creationId xmlns="" xmlns:a16="http://schemas.microsoft.com/office/drawing/2014/main" id="{5CD62799-C9C2-4B49-9A8F-9CFB73E55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301">
              <a:extLst>
                <a:ext uri="{FF2B5EF4-FFF2-40B4-BE49-F238E27FC236}">
                  <a16:creationId xmlns="" xmlns:a16="http://schemas.microsoft.com/office/drawing/2014/main" id="{BBE6BCA8-BE9E-4549-B035-8FF2AE954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302">
              <a:extLst>
                <a:ext uri="{FF2B5EF4-FFF2-40B4-BE49-F238E27FC236}">
                  <a16:creationId xmlns="" xmlns:a16="http://schemas.microsoft.com/office/drawing/2014/main" id="{53476937-873A-495E-AA18-84D748634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3">
              <a:extLst>
                <a:ext uri="{FF2B5EF4-FFF2-40B4-BE49-F238E27FC236}">
                  <a16:creationId xmlns="" xmlns:a16="http://schemas.microsoft.com/office/drawing/2014/main" id="{6A3A4395-7937-4315-943E-4847BAAC6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4">
              <a:extLst>
                <a:ext uri="{FF2B5EF4-FFF2-40B4-BE49-F238E27FC236}">
                  <a16:creationId xmlns="" xmlns:a16="http://schemas.microsoft.com/office/drawing/2014/main" id="{7B6469F6-062F-484B-AD07-199832EF6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5">
              <a:extLst>
                <a:ext uri="{FF2B5EF4-FFF2-40B4-BE49-F238E27FC236}">
                  <a16:creationId xmlns="" xmlns:a16="http://schemas.microsoft.com/office/drawing/2014/main" id="{3BF4CB0A-1993-44D6-8A90-22F05FBC2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6">
              <a:extLst>
                <a:ext uri="{FF2B5EF4-FFF2-40B4-BE49-F238E27FC236}">
                  <a16:creationId xmlns="" xmlns:a16="http://schemas.microsoft.com/office/drawing/2014/main" id="{88C2CFCE-0C1F-4FAC-A317-A15C3964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7">
              <a:extLst>
                <a:ext uri="{FF2B5EF4-FFF2-40B4-BE49-F238E27FC236}">
                  <a16:creationId xmlns="" xmlns:a16="http://schemas.microsoft.com/office/drawing/2014/main" id="{1567C6F1-18FD-4D75-B098-CF3AD102D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8">
              <a:extLst>
                <a:ext uri="{FF2B5EF4-FFF2-40B4-BE49-F238E27FC236}">
                  <a16:creationId xmlns="" xmlns:a16="http://schemas.microsoft.com/office/drawing/2014/main" id="{B8528807-C987-41B1-A823-02C317A17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9">
              <a:extLst>
                <a:ext uri="{FF2B5EF4-FFF2-40B4-BE49-F238E27FC236}">
                  <a16:creationId xmlns="" xmlns:a16="http://schemas.microsoft.com/office/drawing/2014/main" id="{5879B2E2-52C1-4781-B44E-E789548F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10">
              <a:extLst>
                <a:ext uri="{FF2B5EF4-FFF2-40B4-BE49-F238E27FC236}">
                  <a16:creationId xmlns="" xmlns:a16="http://schemas.microsoft.com/office/drawing/2014/main" id="{F12F28D8-8F36-48AD-977C-C98424BBB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11">
              <a:extLst>
                <a:ext uri="{FF2B5EF4-FFF2-40B4-BE49-F238E27FC236}">
                  <a16:creationId xmlns="" xmlns:a16="http://schemas.microsoft.com/office/drawing/2014/main" id="{F8F44602-437E-47E2-A5EB-1D65C1B17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pic>
        <p:nvPicPr>
          <p:cNvPr id="164" name="Рисунок 163">
            <a:extLst>
              <a:ext uri="{FF2B5EF4-FFF2-40B4-BE49-F238E27FC236}">
                <a16:creationId xmlns="" xmlns:a16="http://schemas.microsoft.com/office/drawing/2014/main" id="{5F623A51-491E-4E8C-B77B-D595AAEA7F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992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F4980897-7B9C-4A76-B3C1-8E31CDDFE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2" name="Номер слайда 5">
            <a:extLst>
              <a:ext uri="{FF2B5EF4-FFF2-40B4-BE49-F238E27FC236}">
                <a16:creationId xmlns="" xmlns:a16="http://schemas.microsoft.com/office/drawing/2014/main" id="{8C923F51-ABFE-4C1C-A57B-8F87F82366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="" xmlns:a16="http://schemas.microsoft.com/office/drawing/2014/main" id="{6BAF29F5-66CF-49F6-A2CF-5B6E08807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49F7D9B3-801F-4B29-8FD5-FCD33656EA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flipH="1">
            <a:off x="5698909" y="0"/>
            <a:ext cx="3928370" cy="3541608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EBDBC5BD-2E5F-4FD6-9738-0E10DEC03834}"/>
              </a:ext>
            </a:extLst>
          </p:cNvPr>
          <p:cNvSpPr/>
          <p:nvPr userDrawn="1"/>
        </p:nvSpPr>
        <p:spPr>
          <a:xfrm>
            <a:off x="5215630" y="0"/>
            <a:ext cx="3928370" cy="3429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7000">
                <a:schemeClr val="bg1">
                  <a:alpha val="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946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649E9BA4-FC2B-46F9-8905-034D0085FF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81131" y="1358291"/>
            <a:ext cx="3789628" cy="45027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C3584B99-123A-4D70-9427-DE62E97C16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3" y="1358287"/>
            <a:ext cx="3282807" cy="45107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6C3B4EB-CA94-4DB1-A8F1-53C7FE476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967F22DE-84A2-4CFD-83C8-9D9FA4832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083EE7D7-E78D-4163-BC93-BF12EC8F5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53899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8D6FCF4-E4DF-415E-BD0B-C77C1F5BC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9021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146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924CAFEB-FD42-4F45-ABAF-C3F8E2BF3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7"/>
          <a:stretch/>
        </p:blipFill>
        <p:spPr>
          <a:xfrm>
            <a:off x="3619123" y="-1"/>
            <a:ext cx="5524878" cy="6857999"/>
          </a:xfrm>
          <a:custGeom>
            <a:avLst/>
            <a:gdLst>
              <a:gd name="connsiteX0" fmla="*/ 307402 w 7366504"/>
              <a:gd name="connsiteY0" fmla="*/ 6842737 h 6857999"/>
              <a:gd name="connsiteX1" fmla="*/ 325925 w 7366504"/>
              <a:gd name="connsiteY1" fmla="*/ 6844421 h 6857999"/>
              <a:gd name="connsiteX2" fmla="*/ 380246 w 7366504"/>
              <a:gd name="connsiteY2" fmla="*/ 6853474 h 6857999"/>
              <a:gd name="connsiteX3" fmla="*/ 395826 w 7366504"/>
              <a:gd name="connsiteY3" fmla="*/ 6857999 h 6857999"/>
              <a:gd name="connsiteX4" fmla="*/ 312033 w 7366504"/>
              <a:gd name="connsiteY4" fmla="*/ 6857999 h 6857999"/>
              <a:gd name="connsiteX5" fmla="*/ 308821 w 7366504"/>
              <a:gd name="connsiteY5" fmla="*/ 6848965 h 6857999"/>
              <a:gd name="connsiteX6" fmla="*/ 1718403 w 7366504"/>
              <a:gd name="connsiteY6" fmla="*/ 3103974 h 6857999"/>
              <a:gd name="connsiteX7" fmla="*/ 1726925 w 7366504"/>
              <a:gd name="connsiteY7" fmla="*/ 3112699 h 6857999"/>
              <a:gd name="connsiteX8" fmla="*/ 1753919 w 7366504"/>
              <a:gd name="connsiteY8" fmla="*/ 3130850 h 6857999"/>
              <a:gd name="connsiteX9" fmla="*/ 1747319 w 7366504"/>
              <a:gd name="connsiteY9" fmla="*/ 3132500 h 6857999"/>
              <a:gd name="connsiteX10" fmla="*/ 1720158 w 7366504"/>
              <a:gd name="connsiteY10" fmla="*/ 3150607 h 6857999"/>
              <a:gd name="connsiteX11" fmla="*/ 1713147 w 7366504"/>
              <a:gd name="connsiteY11" fmla="*/ 3154113 h 6857999"/>
              <a:gd name="connsiteX12" fmla="*/ 1705315 w 7366504"/>
              <a:gd name="connsiteY12" fmla="*/ 2773960 h 6857999"/>
              <a:gd name="connsiteX13" fmla="*/ 1706226 w 7366504"/>
              <a:gd name="connsiteY13" fmla="*/ 2774893 h 6857999"/>
              <a:gd name="connsiteX14" fmla="*/ 1707013 w 7366504"/>
              <a:gd name="connsiteY14" fmla="*/ 2775781 h 6857999"/>
              <a:gd name="connsiteX15" fmla="*/ 0 w 7366504"/>
              <a:gd name="connsiteY15" fmla="*/ 0 h 6857999"/>
              <a:gd name="connsiteX16" fmla="*/ 7366504 w 7366504"/>
              <a:gd name="connsiteY16" fmla="*/ 0 h 6857999"/>
              <a:gd name="connsiteX17" fmla="*/ 7366504 w 7366504"/>
              <a:gd name="connsiteY17" fmla="*/ 6857999 h 6857999"/>
              <a:gd name="connsiteX18" fmla="*/ 1511932 w 7366504"/>
              <a:gd name="connsiteY18" fmla="*/ 6857999 h 6857999"/>
              <a:gd name="connsiteX19" fmla="*/ 1520982 w 7366504"/>
              <a:gd name="connsiteY19" fmla="*/ 6853474 h 6857999"/>
              <a:gd name="connsiteX20" fmla="*/ 1575303 w 7366504"/>
              <a:gd name="connsiteY20" fmla="*/ 6844421 h 6857999"/>
              <a:gd name="connsiteX21" fmla="*/ 1638677 w 7366504"/>
              <a:gd name="connsiteY21" fmla="*/ 6817260 h 6857999"/>
              <a:gd name="connsiteX22" fmla="*/ 1692998 w 7366504"/>
              <a:gd name="connsiteY22" fmla="*/ 6799153 h 6857999"/>
              <a:gd name="connsiteX23" fmla="*/ 1729212 w 7366504"/>
              <a:gd name="connsiteY23" fmla="*/ 6781047 h 6857999"/>
              <a:gd name="connsiteX24" fmla="*/ 1756372 w 7366504"/>
              <a:gd name="connsiteY24" fmla="*/ 6771993 h 6857999"/>
              <a:gd name="connsiteX25" fmla="*/ 1783533 w 7366504"/>
              <a:gd name="connsiteY25" fmla="*/ 6753886 h 6857999"/>
              <a:gd name="connsiteX26" fmla="*/ 1855960 w 7366504"/>
              <a:gd name="connsiteY26" fmla="*/ 6717672 h 6857999"/>
              <a:gd name="connsiteX27" fmla="*/ 1919335 w 7366504"/>
              <a:gd name="connsiteY27" fmla="*/ 6699565 h 6857999"/>
              <a:gd name="connsiteX28" fmla="*/ 1946495 w 7366504"/>
              <a:gd name="connsiteY28" fmla="*/ 6690512 h 6857999"/>
              <a:gd name="connsiteX29" fmla="*/ 1973655 w 7366504"/>
              <a:gd name="connsiteY29" fmla="*/ 6672405 h 6857999"/>
              <a:gd name="connsiteX30" fmla="*/ 2009869 w 7366504"/>
              <a:gd name="connsiteY30" fmla="*/ 6663351 h 6857999"/>
              <a:gd name="connsiteX31" fmla="*/ 2055137 w 7366504"/>
              <a:gd name="connsiteY31" fmla="*/ 6627138 h 6857999"/>
              <a:gd name="connsiteX32" fmla="*/ 2073244 w 7366504"/>
              <a:gd name="connsiteY32" fmla="*/ 6599977 h 6857999"/>
              <a:gd name="connsiteX33" fmla="*/ 2100404 w 7366504"/>
              <a:gd name="connsiteY33" fmla="*/ 6563763 h 6857999"/>
              <a:gd name="connsiteX34" fmla="*/ 2163778 w 7366504"/>
              <a:gd name="connsiteY34" fmla="*/ 6482282 h 6857999"/>
              <a:gd name="connsiteX35" fmla="*/ 2199992 w 7366504"/>
              <a:gd name="connsiteY35" fmla="*/ 6455122 h 6857999"/>
              <a:gd name="connsiteX36" fmla="*/ 2209046 w 7366504"/>
              <a:gd name="connsiteY36" fmla="*/ 6427961 h 6857999"/>
              <a:gd name="connsiteX37" fmla="*/ 2227153 w 7366504"/>
              <a:gd name="connsiteY37" fmla="*/ 6400801 h 6857999"/>
              <a:gd name="connsiteX38" fmla="*/ 2245259 w 7366504"/>
              <a:gd name="connsiteY38" fmla="*/ 6328373 h 6857999"/>
              <a:gd name="connsiteX39" fmla="*/ 2281473 w 7366504"/>
              <a:gd name="connsiteY39" fmla="*/ 6228785 h 6857999"/>
              <a:gd name="connsiteX40" fmla="*/ 2299580 w 7366504"/>
              <a:gd name="connsiteY40" fmla="*/ 6138251 h 6857999"/>
              <a:gd name="connsiteX41" fmla="*/ 2309870 w 7366504"/>
              <a:gd name="connsiteY41" fmla="*/ 6098974 h 6857999"/>
              <a:gd name="connsiteX42" fmla="*/ 2372008 w 7366504"/>
              <a:gd name="connsiteY42" fmla="*/ 6147304 h 6857999"/>
              <a:gd name="connsiteX43" fmla="*/ 2426329 w 7366504"/>
              <a:gd name="connsiteY43" fmla="*/ 6156357 h 6857999"/>
              <a:gd name="connsiteX44" fmla="*/ 2553077 w 7366504"/>
              <a:gd name="connsiteY44" fmla="*/ 6210678 h 6857999"/>
              <a:gd name="connsiteX45" fmla="*/ 2670772 w 7366504"/>
              <a:gd name="connsiteY45" fmla="*/ 6219732 h 6857999"/>
              <a:gd name="connsiteX46" fmla="*/ 2743200 w 7366504"/>
              <a:gd name="connsiteY46" fmla="*/ 6219732 h 6857999"/>
              <a:gd name="connsiteX47" fmla="*/ 2879002 w 7366504"/>
              <a:gd name="connsiteY47" fmla="*/ 6228785 h 6857999"/>
              <a:gd name="connsiteX48" fmla="*/ 2924269 w 7366504"/>
              <a:gd name="connsiteY48" fmla="*/ 6237839 h 6857999"/>
              <a:gd name="connsiteX49" fmla="*/ 2960483 w 7366504"/>
              <a:gd name="connsiteY49" fmla="*/ 6246892 h 6857999"/>
              <a:gd name="connsiteX50" fmla="*/ 3105339 w 7366504"/>
              <a:gd name="connsiteY50" fmla="*/ 6255946 h 6857999"/>
              <a:gd name="connsiteX51" fmla="*/ 3132499 w 7366504"/>
              <a:gd name="connsiteY51" fmla="*/ 6246892 h 6857999"/>
              <a:gd name="connsiteX52" fmla="*/ 3195873 w 7366504"/>
              <a:gd name="connsiteY52" fmla="*/ 6237839 h 6857999"/>
              <a:gd name="connsiteX53" fmla="*/ 3213980 w 7366504"/>
              <a:gd name="connsiteY53" fmla="*/ 6192571 h 6857999"/>
              <a:gd name="connsiteX54" fmla="*/ 3186820 w 7366504"/>
              <a:gd name="connsiteY54" fmla="*/ 6138251 h 6857999"/>
              <a:gd name="connsiteX55" fmla="*/ 3159659 w 7366504"/>
              <a:gd name="connsiteY55" fmla="*/ 6120144 h 6857999"/>
              <a:gd name="connsiteX56" fmla="*/ 3079746 w 7366504"/>
              <a:gd name="connsiteY56" fmla="*/ 6104230 h 6857999"/>
              <a:gd name="connsiteX57" fmla="*/ 3056815 w 7366504"/>
              <a:gd name="connsiteY57" fmla="*/ 6095253 h 6857999"/>
              <a:gd name="connsiteX58" fmla="*/ 3223034 w 7366504"/>
              <a:gd name="connsiteY58" fmla="*/ 6102037 h 6857999"/>
              <a:gd name="connsiteX59" fmla="*/ 3295461 w 7366504"/>
              <a:gd name="connsiteY59" fmla="*/ 6083930 h 6857999"/>
              <a:gd name="connsiteX60" fmla="*/ 3322622 w 7366504"/>
              <a:gd name="connsiteY60" fmla="*/ 6065823 h 6857999"/>
              <a:gd name="connsiteX61" fmla="*/ 3349782 w 7366504"/>
              <a:gd name="connsiteY61" fmla="*/ 6056769 h 6857999"/>
              <a:gd name="connsiteX62" fmla="*/ 3395050 w 7366504"/>
              <a:gd name="connsiteY62" fmla="*/ 6029609 h 6857999"/>
              <a:gd name="connsiteX63" fmla="*/ 3494638 w 7366504"/>
              <a:gd name="connsiteY63" fmla="*/ 6011502 h 6857999"/>
              <a:gd name="connsiteX64" fmla="*/ 3521798 w 7366504"/>
              <a:gd name="connsiteY64" fmla="*/ 6002449 h 6857999"/>
              <a:gd name="connsiteX65" fmla="*/ 3585172 w 7366504"/>
              <a:gd name="connsiteY65" fmla="*/ 5984342 h 6857999"/>
              <a:gd name="connsiteX66" fmla="*/ 3539905 w 7366504"/>
              <a:gd name="connsiteY66" fmla="*/ 5902860 h 6857999"/>
              <a:gd name="connsiteX67" fmla="*/ 3512745 w 7366504"/>
              <a:gd name="connsiteY67" fmla="*/ 5884753 h 6857999"/>
              <a:gd name="connsiteX68" fmla="*/ 3476531 w 7366504"/>
              <a:gd name="connsiteY68" fmla="*/ 5821379 h 6857999"/>
              <a:gd name="connsiteX69" fmla="*/ 3458424 w 7366504"/>
              <a:gd name="connsiteY69" fmla="*/ 5794219 h 6857999"/>
              <a:gd name="connsiteX70" fmla="*/ 3422210 w 7366504"/>
              <a:gd name="connsiteY70" fmla="*/ 5739898 h 6857999"/>
              <a:gd name="connsiteX71" fmla="*/ 3376943 w 7366504"/>
              <a:gd name="connsiteY71" fmla="*/ 5685577 h 6857999"/>
              <a:gd name="connsiteX72" fmla="*/ 3349782 w 7366504"/>
              <a:gd name="connsiteY72" fmla="*/ 5658417 h 6857999"/>
              <a:gd name="connsiteX73" fmla="*/ 3340729 w 7366504"/>
              <a:gd name="connsiteY73" fmla="*/ 5631256 h 6857999"/>
              <a:gd name="connsiteX74" fmla="*/ 3313568 w 7366504"/>
              <a:gd name="connsiteY74" fmla="*/ 5613150 h 6857999"/>
              <a:gd name="connsiteX75" fmla="*/ 3295461 w 7366504"/>
              <a:gd name="connsiteY75" fmla="*/ 5585989 h 6857999"/>
              <a:gd name="connsiteX76" fmla="*/ 3241141 w 7366504"/>
              <a:gd name="connsiteY76" fmla="*/ 5549775 h 6857999"/>
              <a:gd name="connsiteX77" fmla="*/ 3213980 w 7366504"/>
              <a:gd name="connsiteY77" fmla="*/ 5540722 h 6857999"/>
              <a:gd name="connsiteX78" fmla="*/ 3186820 w 7366504"/>
              <a:gd name="connsiteY78" fmla="*/ 5549775 h 6857999"/>
              <a:gd name="connsiteX79" fmla="*/ 3123446 w 7366504"/>
              <a:gd name="connsiteY79" fmla="*/ 5595043 h 6857999"/>
              <a:gd name="connsiteX80" fmla="*/ 3087232 w 7366504"/>
              <a:gd name="connsiteY80" fmla="*/ 5649363 h 6857999"/>
              <a:gd name="connsiteX81" fmla="*/ 3069125 w 7366504"/>
              <a:gd name="connsiteY81" fmla="*/ 5739898 h 6857999"/>
              <a:gd name="connsiteX82" fmla="*/ 3060071 w 7366504"/>
              <a:gd name="connsiteY82" fmla="*/ 5767058 h 6857999"/>
              <a:gd name="connsiteX83" fmla="*/ 3032911 w 7366504"/>
              <a:gd name="connsiteY83" fmla="*/ 5794219 h 6857999"/>
              <a:gd name="connsiteX84" fmla="*/ 3014804 w 7366504"/>
              <a:gd name="connsiteY84" fmla="*/ 5821379 h 6857999"/>
              <a:gd name="connsiteX85" fmla="*/ 2987644 w 7366504"/>
              <a:gd name="connsiteY85" fmla="*/ 5839486 h 6857999"/>
              <a:gd name="connsiteX86" fmla="*/ 2969537 w 7366504"/>
              <a:gd name="connsiteY86" fmla="*/ 5875700 h 6857999"/>
              <a:gd name="connsiteX87" fmla="*/ 2951430 w 7366504"/>
              <a:gd name="connsiteY87" fmla="*/ 5902860 h 6857999"/>
              <a:gd name="connsiteX88" fmla="*/ 2915216 w 7366504"/>
              <a:gd name="connsiteY88" fmla="*/ 5920967 h 6857999"/>
              <a:gd name="connsiteX89" fmla="*/ 2860895 w 7366504"/>
              <a:gd name="connsiteY89" fmla="*/ 5966235 h 6857999"/>
              <a:gd name="connsiteX90" fmla="*/ 2701527 w 7366504"/>
              <a:gd name="connsiteY90" fmla="*/ 6033660 h 6857999"/>
              <a:gd name="connsiteX91" fmla="*/ 2616452 w 7366504"/>
              <a:gd name="connsiteY91" fmla="*/ 6029609 h 6857999"/>
              <a:gd name="connsiteX92" fmla="*/ 2562131 w 7366504"/>
              <a:gd name="connsiteY92" fmla="*/ 5993395 h 6857999"/>
              <a:gd name="connsiteX93" fmla="*/ 2489703 w 7366504"/>
              <a:gd name="connsiteY93" fmla="*/ 5948128 h 6857999"/>
              <a:gd name="connsiteX94" fmla="*/ 2419390 w 7366504"/>
              <a:gd name="connsiteY94" fmla="*/ 5904182 h 6857999"/>
              <a:gd name="connsiteX95" fmla="*/ 2426329 w 7366504"/>
              <a:gd name="connsiteY95" fmla="*/ 5893807 h 6857999"/>
              <a:gd name="connsiteX96" fmla="*/ 2444436 w 7366504"/>
              <a:gd name="connsiteY96" fmla="*/ 5821379 h 6857999"/>
              <a:gd name="connsiteX97" fmla="*/ 2453489 w 7366504"/>
              <a:gd name="connsiteY97" fmla="*/ 5794219 h 6857999"/>
              <a:gd name="connsiteX98" fmla="*/ 2462543 w 7366504"/>
              <a:gd name="connsiteY98" fmla="*/ 5622203 h 6857999"/>
              <a:gd name="connsiteX99" fmla="*/ 2444436 w 7366504"/>
              <a:gd name="connsiteY99" fmla="*/ 5504508 h 6857999"/>
              <a:gd name="connsiteX100" fmla="*/ 2426329 w 7366504"/>
              <a:gd name="connsiteY100" fmla="*/ 5441134 h 6857999"/>
              <a:gd name="connsiteX101" fmla="*/ 2417275 w 7366504"/>
              <a:gd name="connsiteY101" fmla="*/ 5260064 h 6857999"/>
              <a:gd name="connsiteX102" fmla="*/ 2399168 w 7366504"/>
              <a:gd name="connsiteY102" fmla="*/ 5205744 h 6857999"/>
              <a:gd name="connsiteX103" fmla="*/ 2381061 w 7366504"/>
              <a:gd name="connsiteY103" fmla="*/ 5178583 h 6857999"/>
              <a:gd name="connsiteX104" fmla="*/ 2353901 w 7366504"/>
              <a:gd name="connsiteY104" fmla="*/ 5160476 h 6857999"/>
              <a:gd name="connsiteX105" fmla="*/ 2308634 w 7366504"/>
              <a:gd name="connsiteY105" fmla="*/ 5106155 h 6857999"/>
              <a:gd name="connsiteX106" fmla="*/ 2263366 w 7366504"/>
              <a:gd name="connsiteY106" fmla="*/ 5060888 h 6857999"/>
              <a:gd name="connsiteX107" fmla="*/ 2242747 w 7366504"/>
              <a:gd name="connsiteY107" fmla="*/ 5054742 h 6857999"/>
              <a:gd name="connsiteX108" fmla="*/ 2213170 w 7366504"/>
              <a:gd name="connsiteY108" fmla="*/ 5044245 h 6857999"/>
              <a:gd name="connsiteX109" fmla="*/ 2218099 w 7366504"/>
              <a:gd name="connsiteY109" fmla="*/ 5024674 h 6857999"/>
              <a:gd name="connsiteX110" fmla="*/ 2245259 w 7366504"/>
              <a:gd name="connsiteY110" fmla="*/ 5015621 h 6857999"/>
              <a:gd name="connsiteX111" fmla="*/ 2272420 w 7366504"/>
              <a:gd name="connsiteY111" fmla="*/ 4997514 h 6857999"/>
              <a:gd name="connsiteX112" fmla="*/ 2462543 w 7366504"/>
              <a:gd name="connsiteY112" fmla="*/ 4988460 h 6857999"/>
              <a:gd name="connsiteX113" fmla="*/ 2562131 w 7366504"/>
              <a:gd name="connsiteY113" fmla="*/ 5006567 h 6857999"/>
              <a:gd name="connsiteX114" fmla="*/ 2634558 w 7366504"/>
              <a:gd name="connsiteY114" fmla="*/ 5015621 h 6857999"/>
              <a:gd name="connsiteX115" fmla="*/ 2661719 w 7366504"/>
              <a:gd name="connsiteY115" fmla="*/ 4997514 h 6857999"/>
              <a:gd name="connsiteX116" fmla="*/ 2670772 w 7366504"/>
              <a:gd name="connsiteY116" fmla="*/ 4943193 h 6857999"/>
              <a:gd name="connsiteX117" fmla="*/ 2625505 w 7366504"/>
              <a:gd name="connsiteY117" fmla="*/ 4897926 h 6857999"/>
              <a:gd name="connsiteX118" fmla="*/ 2607398 w 7366504"/>
              <a:gd name="connsiteY118" fmla="*/ 4870765 h 6857999"/>
              <a:gd name="connsiteX119" fmla="*/ 2525917 w 7366504"/>
              <a:gd name="connsiteY119" fmla="*/ 4843605 h 6857999"/>
              <a:gd name="connsiteX120" fmla="*/ 2498756 w 7366504"/>
              <a:gd name="connsiteY120" fmla="*/ 4825498 h 6857999"/>
              <a:gd name="connsiteX121" fmla="*/ 2453489 w 7366504"/>
              <a:gd name="connsiteY121" fmla="*/ 4816445 h 6857999"/>
              <a:gd name="connsiteX122" fmla="*/ 2426329 w 7366504"/>
              <a:gd name="connsiteY122" fmla="*/ 4807391 h 6857999"/>
              <a:gd name="connsiteX123" fmla="*/ 2390115 w 7366504"/>
              <a:gd name="connsiteY123" fmla="*/ 4798338 h 6857999"/>
              <a:gd name="connsiteX124" fmla="*/ 2380323 w 7366504"/>
              <a:gd name="connsiteY124" fmla="*/ 4790444 h 6857999"/>
              <a:gd name="connsiteX125" fmla="*/ 2379582 w 7366504"/>
              <a:gd name="connsiteY125" fmla="*/ 4787773 h 6857999"/>
              <a:gd name="connsiteX126" fmla="*/ 2379586 w 7366504"/>
              <a:gd name="connsiteY126" fmla="*/ 4787771 h 6857999"/>
              <a:gd name="connsiteX127" fmla="*/ 2399168 w 7366504"/>
              <a:gd name="connsiteY127" fmla="*/ 4771177 h 6857999"/>
              <a:gd name="connsiteX128" fmla="*/ 2426329 w 7366504"/>
              <a:gd name="connsiteY128" fmla="*/ 4744017 h 6857999"/>
              <a:gd name="connsiteX129" fmla="*/ 2471596 w 7366504"/>
              <a:gd name="connsiteY129" fmla="*/ 4716856 h 6857999"/>
              <a:gd name="connsiteX130" fmla="*/ 2498756 w 7366504"/>
              <a:gd name="connsiteY130" fmla="*/ 4689696 h 6857999"/>
              <a:gd name="connsiteX131" fmla="*/ 2589291 w 7366504"/>
              <a:gd name="connsiteY131" fmla="*/ 4617268 h 6857999"/>
              <a:gd name="connsiteX132" fmla="*/ 2598345 w 7366504"/>
              <a:gd name="connsiteY132" fmla="*/ 4590108 h 6857999"/>
              <a:gd name="connsiteX133" fmla="*/ 2634558 w 7366504"/>
              <a:gd name="connsiteY133" fmla="*/ 4535787 h 6857999"/>
              <a:gd name="connsiteX134" fmla="*/ 2688879 w 7366504"/>
              <a:gd name="connsiteY134" fmla="*/ 4499573 h 6857999"/>
              <a:gd name="connsiteX135" fmla="*/ 2706986 w 7366504"/>
              <a:gd name="connsiteY135" fmla="*/ 4472413 h 6857999"/>
              <a:gd name="connsiteX136" fmla="*/ 2734147 w 7366504"/>
              <a:gd name="connsiteY136" fmla="*/ 4454306 h 6857999"/>
              <a:gd name="connsiteX137" fmla="*/ 2761307 w 7366504"/>
              <a:gd name="connsiteY137" fmla="*/ 4390932 h 6857999"/>
              <a:gd name="connsiteX138" fmla="*/ 2824681 w 7366504"/>
              <a:gd name="connsiteY138" fmla="*/ 4372825 h 6857999"/>
              <a:gd name="connsiteX139" fmla="*/ 2879002 w 7366504"/>
              <a:gd name="connsiteY139" fmla="*/ 4354718 h 6857999"/>
              <a:gd name="connsiteX140" fmla="*/ 2897109 w 7366504"/>
              <a:gd name="connsiteY140" fmla="*/ 4327557 h 6857999"/>
              <a:gd name="connsiteX141" fmla="*/ 2951430 w 7366504"/>
              <a:gd name="connsiteY141" fmla="*/ 4291344 h 6857999"/>
              <a:gd name="connsiteX142" fmla="*/ 2969537 w 7366504"/>
              <a:gd name="connsiteY142" fmla="*/ 4264183 h 6857999"/>
              <a:gd name="connsiteX143" fmla="*/ 2978590 w 7366504"/>
              <a:gd name="connsiteY143" fmla="*/ 4237023 h 6857999"/>
              <a:gd name="connsiteX144" fmla="*/ 3005751 w 7366504"/>
              <a:gd name="connsiteY144" fmla="*/ 4173649 h 6857999"/>
              <a:gd name="connsiteX145" fmla="*/ 3014804 w 7366504"/>
              <a:gd name="connsiteY145" fmla="*/ 4028793 h 6857999"/>
              <a:gd name="connsiteX146" fmla="*/ 3007830 w 7366504"/>
              <a:gd name="connsiteY146" fmla="*/ 4007826 h 6857999"/>
              <a:gd name="connsiteX147" fmla="*/ 3004501 w 7366504"/>
              <a:gd name="connsiteY147" fmla="*/ 3997766 h 6857999"/>
              <a:gd name="connsiteX148" fmla="*/ 3004152 w 7366504"/>
              <a:gd name="connsiteY148" fmla="*/ 3996663 h 6857999"/>
              <a:gd name="connsiteX149" fmla="*/ 3003485 w 7366504"/>
              <a:gd name="connsiteY149" fmla="*/ 3994695 h 6857999"/>
              <a:gd name="connsiteX150" fmla="*/ 3004501 w 7366504"/>
              <a:gd name="connsiteY150" fmla="*/ 3997766 h 6857999"/>
              <a:gd name="connsiteX151" fmla="*/ 3009533 w 7366504"/>
              <a:gd name="connsiteY151" fmla="*/ 4013639 h 6857999"/>
              <a:gd name="connsiteX152" fmla="*/ 2987644 w 7366504"/>
              <a:gd name="connsiteY152" fmla="*/ 3965419 h 6857999"/>
              <a:gd name="connsiteX153" fmla="*/ 2978590 w 7366504"/>
              <a:gd name="connsiteY153" fmla="*/ 3929205 h 6857999"/>
              <a:gd name="connsiteX154" fmla="*/ 2951430 w 7366504"/>
              <a:gd name="connsiteY154" fmla="*/ 3865831 h 6857999"/>
              <a:gd name="connsiteX155" fmla="*/ 2933323 w 7366504"/>
              <a:gd name="connsiteY155" fmla="*/ 3838670 h 6857999"/>
              <a:gd name="connsiteX156" fmla="*/ 2919094 w 7366504"/>
              <a:gd name="connsiteY156" fmla="*/ 3823798 h 6857999"/>
              <a:gd name="connsiteX157" fmla="*/ 2924269 w 7366504"/>
              <a:gd name="connsiteY157" fmla="*/ 3820563 h 6857999"/>
              <a:gd name="connsiteX158" fmla="*/ 2969537 w 7366504"/>
              <a:gd name="connsiteY158" fmla="*/ 3793403 h 6857999"/>
              <a:gd name="connsiteX159" fmla="*/ 2996697 w 7366504"/>
              <a:gd name="connsiteY159" fmla="*/ 3775296 h 6857999"/>
              <a:gd name="connsiteX160" fmla="*/ 3014804 w 7366504"/>
              <a:gd name="connsiteY160" fmla="*/ 3739082 h 6857999"/>
              <a:gd name="connsiteX161" fmla="*/ 3014804 w 7366504"/>
              <a:gd name="connsiteY161" fmla="*/ 3476532 h 6857999"/>
              <a:gd name="connsiteX162" fmla="*/ 2969537 w 7366504"/>
              <a:gd name="connsiteY162" fmla="*/ 3404104 h 6857999"/>
              <a:gd name="connsiteX163" fmla="*/ 2942376 w 7366504"/>
              <a:gd name="connsiteY163" fmla="*/ 3395051 h 6857999"/>
              <a:gd name="connsiteX164" fmla="*/ 2915216 w 7366504"/>
              <a:gd name="connsiteY164" fmla="*/ 3367890 h 6857999"/>
              <a:gd name="connsiteX165" fmla="*/ 2888055 w 7366504"/>
              <a:gd name="connsiteY165" fmla="*/ 3358837 h 6857999"/>
              <a:gd name="connsiteX166" fmla="*/ 2842788 w 7366504"/>
              <a:gd name="connsiteY166" fmla="*/ 3331676 h 6857999"/>
              <a:gd name="connsiteX167" fmla="*/ 2571184 w 7366504"/>
              <a:gd name="connsiteY167" fmla="*/ 3331676 h 6857999"/>
              <a:gd name="connsiteX168" fmla="*/ 2480650 w 7366504"/>
              <a:gd name="connsiteY168" fmla="*/ 3304516 h 6857999"/>
              <a:gd name="connsiteX169" fmla="*/ 2362954 w 7366504"/>
              <a:gd name="connsiteY169" fmla="*/ 3295462 h 6857999"/>
              <a:gd name="connsiteX170" fmla="*/ 2335794 w 7366504"/>
              <a:gd name="connsiteY170" fmla="*/ 3286409 h 6857999"/>
              <a:gd name="connsiteX171" fmla="*/ 2254313 w 7366504"/>
              <a:gd name="connsiteY171" fmla="*/ 3213981 h 6857999"/>
              <a:gd name="connsiteX172" fmla="*/ 2241772 w 7366504"/>
              <a:gd name="connsiteY172" fmla="*/ 3195170 h 6857999"/>
              <a:gd name="connsiteX173" fmla="*/ 2245259 w 7366504"/>
              <a:gd name="connsiteY173" fmla="*/ 3195874 h 6857999"/>
              <a:gd name="connsiteX174" fmla="*/ 2525917 w 7366504"/>
              <a:gd name="connsiteY174" fmla="*/ 3195874 h 6857999"/>
              <a:gd name="connsiteX175" fmla="*/ 2507810 w 7366504"/>
              <a:gd name="connsiteY175" fmla="*/ 3168714 h 6857999"/>
              <a:gd name="connsiteX176" fmla="*/ 2489703 w 7366504"/>
              <a:gd name="connsiteY176" fmla="*/ 3141553 h 6857999"/>
              <a:gd name="connsiteX177" fmla="*/ 2435382 w 7366504"/>
              <a:gd name="connsiteY177" fmla="*/ 3060072 h 6857999"/>
              <a:gd name="connsiteX178" fmla="*/ 2417275 w 7366504"/>
              <a:gd name="connsiteY178" fmla="*/ 2987645 h 6857999"/>
              <a:gd name="connsiteX179" fmla="*/ 2408222 w 7366504"/>
              <a:gd name="connsiteY179" fmla="*/ 2960484 h 6857999"/>
              <a:gd name="connsiteX180" fmla="*/ 2390115 w 7366504"/>
              <a:gd name="connsiteY180" fmla="*/ 2906163 h 6857999"/>
              <a:gd name="connsiteX181" fmla="*/ 2399168 w 7366504"/>
              <a:gd name="connsiteY181" fmla="*/ 2879003 h 6857999"/>
              <a:gd name="connsiteX182" fmla="*/ 2408222 w 7366504"/>
              <a:gd name="connsiteY182" fmla="*/ 2815629 h 6857999"/>
              <a:gd name="connsiteX183" fmla="*/ 2399168 w 7366504"/>
              <a:gd name="connsiteY183" fmla="*/ 2779415 h 6857999"/>
              <a:gd name="connsiteX184" fmla="*/ 2037030 w 7366504"/>
              <a:gd name="connsiteY184" fmla="*/ 2734148 h 6857999"/>
              <a:gd name="connsiteX185" fmla="*/ 1964602 w 7366504"/>
              <a:gd name="connsiteY185" fmla="*/ 2752254 h 6857999"/>
              <a:gd name="connsiteX186" fmla="*/ 1846907 w 7366504"/>
              <a:gd name="connsiteY186" fmla="*/ 2761308 h 6857999"/>
              <a:gd name="connsiteX187" fmla="*/ 1740269 w 7366504"/>
              <a:gd name="connsiteY187" fmla="*/ 2799525 h 6857999"/>
              <a:gd name="connsiteX188" fmla="*/ 1729212 w 7366504"/>
              <a:gd name="connsiteY188" fmla="*/ 2788468 h 6857999"/>
              <a:gd name="connsiteX189" fmla="*/ 1703450 w 7366504"/>
              <a:gd name="connsiteY189" fmla="*/ 2771958 h 6857999"/>
              <a:gd name="connsiteX190" fmla="*/ 1705315 w 7366504"/>
              <a:gd name="connsiteY190" fmla="*/ 2773960 h 6857999"/>
              <a:gd name="connsiteX191" fmla="*/ 1696911 w 7366504"/>
              <a:gd name="connsiteY191" fmla="*/ 2765348 h 6857999"/>
              <a:gd name="connsiteX192" fmla="*/ 1674891 w 7366504"/>
              <a:gd name="connsiteY192" fmla="*/ 2743202 h 6857999"/>
              <a:gd name="connsiteX193" fmla="*/ 1647731 w 7366504"/>
              <a:gd name="connsiteY193" fmla="*/ 2734148 h 6857999"/>
              <a:gd name="connsiteX194" fmla="*/ 1539089 w 7366504"/>
              <a:gd name="connsiteY194" fmla="*/ 2716041 h 6857999"/>
              <a:gd name="connsiteX195" fmla="*/ 1511929 w 7366504"/>
              <a:gd name="connsiteY195" fmla="*/ 2706987 h 6857999"/>
              <a:gd name="connsiteX196" fmla="*/ 1430448 w 7366504"/>
              <a:gd name="connsiteY196" fmla="*/ 2679828 h 6857999"/>
              <a:gd name="connsiteX197" fmla="*/ 1321806 w 7366504"/>
              <a:gd name="connsiteY197" fmla="*/ 2670774 h 6857999"/>
              <a:gd name="connsiteX198" fmla="*/ 1247070 w 7366504"/>
              <a:gd name="connsiteY198" fmla="*/ 2666378 h 6857999"/>
              <a:gd name="connsiteX199" fmla="*/ 1234456 w 7366504"/>
              <a:gd name="connsiteY199" fmla="*/ 2642353 h 6857999"/>
              <a:gd name="connsiteX200" fmla="*/ 1213164 w 7366504"/>
              <a:gd name="connsiteY200" fmla="*/ 2616452 h 6857999"/>
              <a:gd name="connsiteX201" fmla="*/ 1167897 w 7366504"/>
              <a:gd name="connsiteY201" fmla="*/ 2571186 h 6857999"/>
              <a:gd name="connsiteX202" fmla="*/ 1131683 w 7366504"/>
              <a:gd name="connsiteY202" fmla="*/ 2516865 h 6857999"/>
              <a:gd name="connsiteX203" fmla="*/ 1122630 w 7366504"/>
              <a:gd name="connsiteY203" fmla="*/ 2462544 h 6857999"/>
              <a:gd name="connsiteX204" fmla="*/ 1086416 w 7366504"/>
              <a:gd name="connsiteY204" fmla="*/ 2408224 h 6857999"/>
              <a:gd name="connsiteX205" fmla="*/ 1077362 w 7366504"/>
              <a:gd name="connsiteY205" fmla="*/ 2381062 h 6857999"/>
              <a:gd name="connsiteX206" fmla="*/ 1059255 w 7366504"/>
              <a:gd name="connsiteY206" fmla="*/ 2353902 h 6857999"/>
              <a:gd name="connsiteX207" fmla="*/ 1004935 w 7366504"/>
              <a:gd name="connsiteY207" fmla="*/ 2299582 h 6857999"/>
              <a:gd name="connsiteX208" fmla="*/ 968721 w 7366504"/>
              <a:gd name="connsiteY208" fmla="*/ 2218100 h 6857999"/>
              <a:gd name="connsiteX209" fmla="*/ 950614 w 7366504"/>
              <a:gd name="connsiteY209" fmla="*/ 2190941 h 6857999"/>
              <a:gd name="connsiteX210" fmla="*/ 923453 w 7366504"/>
              <a:gd name="connsiteY210" fmla="*/ 2181887 h 6857999"/>
              <a:gd name="connsiteX211" fmla="*/ 878186 w 7366504"/>
              <a:gd name="connsiteY211" fmla="*/ 2127565 h 6857999"/>
              <a:gd name="connsiteX212" fmla="*/ 832919 w 7366504"/>
              <a:gd name="connsiteY212" fmla="*/ 2073245 h 6857999"/>
              <a:gd name="connsiteX213" fmla="*/ 805758 w 7366504"/>
              <a:gd name="connsiteY213" fmla="*/ 2055139 h 6857999"/>
              <a:gd name="connsiteX214" fmla="*/ 769545 w 7366504"/>
              <a:gd name="connsiteY214" fmla="*/ 2027977 h 6857999"/>
              <a:gd name="connsiteX215" fmla="*/ 742384 w 7366504"/>
              <a:gd name="connsiteY215" fmla="*/ 2018924 h 6857999"/>
              <a:gd name="connsiteX216" fmla="*/ 733331 w 7366504"/>
              <a:gd name="connsiteY216" fmla="*/ 1991764 h 6857999"/>
              <a:gd name="connsiteX217" fmla="*/ 706170 w 7366504"/>
              <a:gd name="connsiteY217" fmla="*/ 1964603 h 6857999"/>
              <a:gd name="connsiteX218" fmla="*/ 679010 w 7366504"/>
              <a:gd name="connsiteY218" fmla="*/ 1955550 h 6857999"/>
              <a:gd name="connsiteX219" fmla="*/ 660903 w 7366504"/>
              <a:gd name="connsiteY219" fmla="*/ 1928390 h 6857999"/>
              <a:gd name="connsiteX220" fmla="*/ 606582 w 7366504"/>
              <a:gd name="connsiteY220" fmla="*/ 1910282 h 6857999"/>
              <a:gd name="connsiteX221" fmla="*/ 579422 w 7366504"/>
              <a:gd name="connsiteY221" fmla="*/ 1883123 h 6857999"/>
              <a:gd name="connsiteX222" fmla="*/ 552261 w 7366504"/>
              <a:gd name="connsiteY222" fmla="*/ 1865016 h 6857999"/>
              <a:gd name="connsiteX223" fmla="*/ 516048 w 7366504"/>
              <a:gd name="connsiteY223" fmla="*/ 1783534 h 6857999"/>
              <a:gd name="connsiteX224" fmla="*/ 495029 w 7366504"/>
              <a:gd name="connsiteY224" fmla="*/ 1770801 h 6857999"/>
              <a:gd name="connsiteX225" fmla="*/ 493665 w 7366504"/>
              <a:gd name="connsiteY225" fmla="*/ 1769904 h 6857999"/>
              <a:gd name="connsiteX226" fmla="*/ 516048 w 7366504"/>
              <a:gd name="connsiteY226" fmla="*/ 1765427 h 6857999"/>
              <a:gd name="connsiteX227" fmla="*/ 697117 w 7366504"/>
              <a:gd name="connsiteY227" fmla="*/ 1738266 h 6857999"/>
              <a:gd name="connsiteX228" fmla="*/ 742384 w 7366504"/>
              <a:gd name="connsiteY228" fmla="*/ 1692999 h 6857999"/>
              <a:gd name="connsiteX229" fmla="*/ 751438 w 7366504"/>
              <a:gd name="connsiteY229" fmla="*/ 1665839 h 6857999"/>
              <a:gd name="connsiteX230" fmla="*/ 787652 w 7366504"/>
              <a:gd name="connsiteY230" fmla="*/ 1611518 h 6857999"/>
              <a:gd name="connsiteX231" fmla="*/ 823865 w 7366504"/>
              <a:gd name="connsiteY231" fmla="*/ 1539090 h 6857999"/>
              <a:gd name="connsiteX232" fmla="*/ 841972 w 7366504"/>
              <a:gd name="connsiteY232" fmla="*/ 1511930 h 6857999"/>
              <a:gd name="connsiteX233" fmla="*/ 860079 w 7366504"/>
              <a:gd name="connsiteY233" fmla="*/ 1457609 h 6857999"/>
              <a:gd name="connsiteX234" fmla="*/ 887240 w 7366504"/>
              <a:gd name="connsiteY234" fmla="*/ 1376128 h 6857999"/>
              <a:gd name="connsiteX235" fmla="*/ 896293 w 7366504"/>
              <a:gd name="connsiteY235" fmla="*/ 1186005 h 6857999"/>
              <a:gd name="connsiteX236" fmla="*/ 869133 w 7366504"/>
              <a:gd name="connsiteY236" fmla="*/ 1122631 h 6857999"/>
              <a:gd name="connsiteX237" fmla="*/ 841972 w 7366504"/>
              <a:gd name="connsiteY237" fmla="*/ 1095470 h 6857999"/>
              <a:gd name="connsiteX238" fmla="*/ 787652 w 7366504"/>
              <a:gd name="connsiteY238" fmla="*/ 1041150 h 6857999"/>
              <a:gd name="connsiteX239" fmla="*/ 733331 w 7366504"/>
              <a:gd name="connsiteY239" fmla="*/ 986829 h 6857999"/>
              <a:gd name="connsiteX240" fmla="*/ 595676 w 7366504"/>
              <a:gd name="connsiteY240" fmla="*/ 977768 h 6857999"/>
              <a:gd name="connsiteX241" fmla="*/ 495734 w 7366504"/>
              <a:gd name="connsiteY241" fmla="*/ 976676 h 6857999"/>
              <a:gd name="connsiteX242" fmla="*/ 507099 w 7366504"/>
              <a:gd name="connsiteY242" fmla="*/ 959822 h 6857999"/>
              <a:gd name="connsiteX243" fmla="*/ 525101 w 7366504"/>
              <a:gd name="connsiteY243" fmla="*/ 932508 h 6857999"/>
              <a:gd name="connsiteX244" fmla="*/ 579422 w 7366504"/>
              <a:gd name="connsiteY244" fmla="*/ 923454 h 6857999"/>
              <a:gd name="connsiteX245" fmla="*/ 706170 w 7366504"/>
              <a:gd name="connsiteY245" fmla="*/ 914401 h 6857999"/>
              <a:gd name="connsiteX246" fmla="*/ 688063 w 7366504"/>
              <a:gd name="connsiteY246" fmla="*/ 805759 h 6857999"/>
              <a:gd name="connsiteX247" fmla="*/ 660903 w 7366504"/>
              <a:gd name="connsiteY247" fmla="*/ 796706 h 6857999"/>
              <a:gd name="connsiteX248" fmla="*/ 298764 w 7366504"/>
              <a:gd name="connsiteY248" fmla="*/ 787652 h 6857999"/>
              <a:gd name="connsiteX249" fmla="*/ 271604 w 7366504"/>
              <a:gd name="connsiteY249" fmla="*/ 778599 h 6857999"/>
              <a:gd name="connsiteX250" fmla="*/ 262551 w 7366504"/>
              <a:gd name="connsiteY250" fmla="*/ 733332 h 6857999"/>
              <a:gd name="connsiteX251" fmla="*/ 253497 w 7366504"/>
              <a:gd name="connsiteY251" fmla="*/ 660904 h 6857999"/>
              <a:gd name="connsiteX252" fmla="*/ 235390 w 7366504"/>
              <a:gd name="connsiteY252" fmla="*/ 452674 h 6857999"/>
              <a:gd name="connsiteX253" fmla="*/ 253497 w 7366504"/>
              <a:gd name="connsiteY253" fmla="*/ 425514 h 6857999"/>
              <a:gd name="connsiteX254" fmla="*/ 262551 w 7366504"/>
              <a:gd name="connsiteY254" fmla="*/ 325926 h 6857999"/>
              <a:gd name="connsiteX255" fmla="*/ 190123 w 7366504"/>
              <a:gd name="connsiteY255" fmla="*/ 316872 h 6857999"/>
              <a:gd name="connsiteX256" fmla="*/ 162962 w 7366504"/>
              <a:gd name="connsiteY256" fmla="*/ 344033 h 6857999"/>
              <a:gd name="connsiteX257" fmla="*/ 135802 w 7366504"/>
              <a:gd name="connsiteY257" fmla="*/ 362140 h 6857999"/>
              <a:gd name="connsiteX258" fmla="*/ 95243 w 7366504"/>
              <a:gd name="connsiteY258" fmla="*/ 367210 h 6857999"/>
              <a:gd name="connsiteX259" fmla="*/ 90535 w 7366504"/>
              <a:gd name="connsiteY259" fmla="*/ 353086 h 6857999"/>
              <a:gd name="connsiteX260" fmla="*/ 81481 w 7366504"/>
              <a:gd name="connsiteY260" fmla="*/ 325926 h 6857999"/>
              <a:gd name="connsiteX261" fmla="*/ 45267 w 7366504"/>
              <a:gd name="connsiteY261" fmla="*/ 244445 h 6857999"/>
              <a:gd name="connsiteX262" fmla="*/ 18107 w 7366504"/>
              <a:gd name="connsiteY262" fmla="*/ 217284 h 6857999"/>
              <a:gd name="connsiteX263" fmla="*/ 561 w 7366504"/>
              <a:gd name="connsiteY263" fmla="*/ 211152 h 6857999"/>
              <a:gd name="connsiteX264" fmla="*/ 0 w 7366504"/>
              <a:gd name="connsiteY264" fmla="*/ 21106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7366504" h="6857999">
                <a:moveTo>
                  <a:pt x="307402" y="6842737"/>
                </a:moveTo>
                <a:lnTo>
                  <a:pt x="325925" y="6844421"/>
                </a:lnTo>
                <a:cubicBezTo>
                  <a:pt x="344156" y="6846566"/>
                  <a:pt x="362139" y="6850456"/>
                  <a:pt x="380246" y="6853474"/>
                </a:cubicBezTo>
                <a:lnTo>
                  <a:pt x="395826" y="6857999"/>
                </a:lnTo>
                <a:lnTo>
                  <a:pt x="312033" y="6857999"/>
                </a:lnTo>
                <a:lnTo>
                  <a:pt x="308821" y="6848965"/>
                </a:lnTo>
                <a:close/>
                <a:moveTo>
                  <a:pt x="1718403" y="3103974"/>
                </a:moveTo>
                <a:lnTo>
                  <a:pt x="1726925" y="3112699"/>
                </a:lnTo>
                <a:lnTo>
                  <a:pt x="1753919" y="3130850"/>
                </a:lnTo>
                <a:lnTo>
                  <a:pt x="1747319" y="3132500"/>
                </a:lnTo>
                <a:cubicBezTo>
                  <a:pt x="1737318" y="3136786"/>
                  <a:pt x="1729605" y="3145208"/>
                  <a:pt x="1720158" y="3150607"/>
                </a:cubicBezTo>
                <a:lnTo>
                  <a:pt x="1713147" y="3154113"/>
                </a:lnTo>
                <a:close/>
                <a:moveTo>
                  <a:pt x="1705315" y="2773960"/>
                </a:moveTo>
                <a:lnTo>
                  <a:pt x="1706226" y="2774893"/>
                </a:lnTo>
                <a:cubicBezTo>
                  <a:pt x="1707678" y="2776413"/>
                  <a:pt x="1707708" y="2776489"/>
                  <a:pt x="1707013" y="2775781"/>
                </a:cubicBezTo>
                <a:close/>
                <a:moveTo>
                  <a:pt x="0" y="0"/>
                </a:moveTo>
                <a:lnTo>
                  <a:pt x="7366504" y="0"/>
                </a:lnTo>
                <a:lnTo>
                  <a:pt x="7366504" y="6857999"/>
                </a:lnTo>
                <a:lnTo>
                  <a:pt x="1511932" y="6857999"/>
                </a:lnTo>
                <a:lnTo>
                  <a:pt x="1520982" y="6853474"/>
                </a:lnTo>
                <a:cubicBezTo>
                  <a:pt x="1539089" y="6850456"/>
                  <a:pt x="1557383" y="6848403"/>
                  <a:pt x="1575303" y="6844421"/>
                </a:cubicBezTo>
                <a:cubicBezTo>
                  <a:pt x="1599278" y="6839093"/>
                  <a:pt x="1616539" y="6828329"/>
                  <a:pt x="1638677" y="6817260"/>
                </a:cubicBezTo>
                <a:cubicBezTo>
                  <a:pt x="1655748" y="6808724"/>
                  <a:pt x="1675277" y="6806241"/>
                  <a:pt x="1692998" y="6799153"/>
                </a:cubicBezTo>
                <a:cubicBezTo>
                  <a:pt x="1705529" y="6794141"/>
                  <a:pt x="1716807" y="6786363"/>
                  <a:pt x="1729212" y="6781047"/>
                </a:cubicBezTo>
                <a:cubicBezTo>
                  <a:pt x="1737984" y="6777288"/>
                  <a:pt x="1747836" y="6776261"/>
                  <a:pt x="1756372" y="6771993"/>
                </a:cubicBezTo>
                <a:cubicBezTo>
                  <a:pt x="1766104" y="6767127"/>
                  <a:pt x="1774479" y="6759922"/>
                  <a:pt x="1783533" y="6753886"/>
                </a:cubicBezTo>
                <a:cubicBezTo>
                  <a:pt x="1805992" y="6738914"/>
                  <a:pt x="1831387" y="6728841"/>
                  <a:pt x="1855960" y="6717672"/>
                </a:cubicBezTo>
                <a:cubicBezTo>
                  <a:pt x="1874320" y="6709327"/>
                  <a:pt x="1900729" y="6704881"/>
                  <a:pt x="1919335" y="6699565"/>
                </a:cubicBezTo>
                <a:cubicBezTo>
                  <a:pt x="1928511" y="6696943"/>
                  <a:pt x="1937959" y="6694780"/>
                  <a:pt x="1946495" y="6690512"/>
                </a:cubicBezTo>
                <a:cubicBezTo>
                  <a:pt x="1956227" y="6685646"/>
                  <a:pt x="1964602" y="6678441"/>
                  <a:pt x="1973655" y="6672405"/>
                </a:cubicBezTo>
                <a:cubicBezTo>
                  <a:pt x="1985726" y="6669387"/>
                  <a:pt x="1998992" y="6669394"/>
                  <a:pt x="2009869" y="6663351"/>
                </a:cubicBezTo>
                <a:cubicBezTo>
                  <a:pt x="2026761" y="6653967"/>
                  <a:pt x="2041473" y="6640802"/>
                  <a:pt x="2055137" y="6627138"/>
                </a:cubicBezTo>
                <a:cubicBezTo>
                  <a:pt x="2062831" y="6619444"/>
                  <a:pt x="2066920" y="6608831"/>
                  <a:pt x="2073244" y="6599977"/>
                </a:cubicBezTo>
                <a:cubicBezTo>
                  <a:pt x="2082014" y="6587698"/>
                  <a:pt x="2090584" y="6575220"/>
                  <a:pt x="2100404" y="6563763"/>
                </a:cubicBezTo>
                <a:cubicBezTo>
                  <a:pt x="2164228" y="6489300"/>
                  <a:pt x="2084298" y="6601501"/>
                  <a:pt x="2163778" y="6482282"/>
                </a:cubicBezTo>
                <a:cubicBezTo>
                  <a:pt x="2175849" y="6473229"/>
                  <a:pt x="2190332" y="6466714"/>
                  <a:pt x="2199992" y="6455122"/>
                </a:cubicBezTo>
                <a:cubicBezTo>
                  <a:pt x="2206102" y="6447791"/>
                  <a:pt x="2204778" y="6436497"/>
                  <a:pt x="2209046" y="6427961"/>
                </a:cubicBezTo>
                <a:cubicBezTo>
                  <a:pt x="2213912" y="6418229"/>
                  <a:pt x="2222287" y="6410533"/>
                  <a:pt x="2227153" y="6400801"/>
                </a:cubicBezTo>
                <a:cubicBezTo>
                  <a:pt x="2237500" y="6380107"/>
                  <a:pt x="2240094" y="6349033"/>
                  <a:pt x="2245259" y="6328373"/>
                </a:cubicBezTo>
                <a:cubicBezTo>
                  <a:pt x="2281624" y="6182912"/>
                  <a:pt x="2244603" y="6327104"/>
                  <a:pt x="2281473" y="6228785"/>
                </a:cubicBezTo>
                <a:cubicBezTo>
                  <a:pt x="2290487" y="6204747"/>
                  <a:pt x="2295108" y="6160611"/>
                  <a:pt x="2299580" y="6138251"/>
                </a:cubicBezTo>
                <a:lnTo>
                  <a:pt x="2309870" y="6098974"/>
                </a:lnTo>
                <a:lnTo>
                  <a:pt x="2372008" y="6147304"/>
                </a:lnTo>
                <a:cubicBezTo>
                  <a:pt x="2390115" y="6150322"/>
                  <a:pt x="2408679" y="6151314"/>
                  <a:pt x="2426329" y="6156357"/>
                </a:cubicBezTo>
                <a:cubicBezTo>
                  <a:pt x="2479629" y="6171586"/>
                  <a:pt x="2505594" y="6186937"/>
                  <a:pt x="2553077" y="6210678"/>
                </a:cubicBezTo>
                <a:cubicBezTo>
                  <a:pt x="2592309" y="6213696"/>
                  <a:pt x="2631424" y="6219732"/>
                  <a:pt x="2670772" y="6219732"/>
                </a:cubicBezTo>
                <a:cubicBezTo>
                  <a:pt x="2758172" y="6219732"/>
                  <a:pt x="2681116" y="6199036"/>
                  <a:pt x="2743200" y="6219732"/>
                </a:cubicBezTo>
                <a:cubicBezTo>
                  <a:pt x="2788467" y="6222750"/>
                  <a:pt x="2833859" y="6224271"/>
                  <a:pt x="2879002" y="6228785"/>
                </a:cubicBezTo>
                <a:cubicBezTo>
                  <a:pt x="2894313" y="6230316"/>
                  <a:pt x="2909248" y="6234501"/>
                  <a:pt x="2924269" y="6237839"/>
                </a:cubicBezTo>
                <a:cubicBezTo>
                  <a:pt x="2936416" y="6240538"/>
                  <a:pt x="2948102" y="6245654"/>
                  <a:pt x="2960483" y="6246892"/>
                </a:cubicBezTo>
                <a:cubicBezTo>
                  <a:pt x="3008622" y="6251706"/>
                  <a:pt x="3057054" y="6252928"/>
                  <a:pt x="3105339" y="6255946"/>
                </a:cubicBezTo>
                <a:cubicBezTo>
                  <a:pt x="3114392" y="6252928"/>
                  <a:pt x="3123141" y="6248764"/>
                  <a:pt x="3132499" y="6246892"/>
                </a:cubicBezTo>
                <a:cubicBezTo>
                  <a:pt x="3153424" y="6242707"/>
                  <a:pt x="3178118" y="6249676"/>
                  <a:pt x="3195873" y="6237839"/>
                </a:cubicBezTo>
                <a:cubicBezTo>
                  <a:pt x="3209395" y="6228824"/>
                  <a:pt x="3207944" y="6207660"/>
                  <a:pt x="3213980" y="6192571"/>
                </a:cubicBezTo>
                <a:cubicBezTo>
                  <a:pt x="3206617" y="6170480"/>
                  <a:pt x="3204371" y="6155801"/>
                  <a:pt x="3186820" y="6138251"/>
                </a:cubicBezTo>
                <a:cubicBezTo>
                  <a:pt x="3179126" y="6130557"/>
                  <a:pt x="3168713" y="6126180"/>
                  <a:pt x="3159659" y="6120144"/>
                </a:cubicBezTo>
                <a:cubicBezTo>
                  <a:pt x="3125498" y="6114450"/>
                  <a:pt x="3105678" y="6112779"/>
                  <a:pt x="3079746" y="6104230"/>
                </a:cubicBezTo>
                <a:lnTo>
                  <a:pt x="3056815" y="6095253"/>
                </a:lnTo>
                <a:lnTo>
                  <a:pt x="3223034" y="6102037"/>
                </a:lnTo>
                <a:cubicBezTo>
                  <a:pt x="3247176" y="6096001"/>
                  <a:pt x="3272074" y="6092434"/>
                  <a:pt x="3295461" y="6083930"/>
                </a:cubicBezTo>
                <a:cubicBezTo>
                  <a:pt x="3305687" y="6080211"/>
                  <a:pt x="3312890" y="6070689"/>
                  <a:pt x="3322622" y="6065823"/>
                </a:cubicBezTo>
                <a:cubicBezTo>
                  <a:pt x="3331158" y="6061555"/>
                  <a:pt x="3341246" y="6061037"/>
                  <a:pt x="3349782" y="6056769"/>
                </a:cubicBezTo>
                <a:cubicBezTo>
                  <a:pt x="3365521" y="6048899"/>
                  <a:pt x="3379961" y="6038662"/>
                  <a:pt x="3395050" y="6029609"/>
                </a:cubicBezTo>
                <a:cubicBezTo>
                  <a:pt x="3502371" y="6002777"/>
                  <a:pt x="3332498" y="6043928"/>
                  <a:pt x="3494638" y="6011502"/>
                </a:cubicBezTo>
                <a:cubicBezTo>
                  <a:pt x="3503996" y="6009631"/>
                  <a:pt x="3512622" y="6005071"/>
                  <a:pt x="3521798" y="6002449"/>
                </a:cubicBezTo>
                <a:cubicBezTo>
                  <a:pt x="3601373" y="5979713"/>
                  <a:pt x="3520052" y="6006048"/>
                  <a:pt x="3585172" y="5984342"/>
                </a:cubicBezTo>
                <a:cubicBezTo>
                  <a:pt x="3569238" y="5936536"/>
                  <a:pt x="3581413" y="5965122"/>
                  <a:pt x="3539905" y="5902860"/>
                </a:cubicBezTo>
                <a:cubicBezTo>
                  <a:pt x="3530852" y="5896824"/>
                  <a:pt x="3520439" y="5892447"/>
                  <a:pt x="3512745" y="5884753"/>
                </a:cubicBezTo>
                <a:cubicBezTo>
                  <a:pt x="3499948" y="5871956"/>
                  <a:pt x="3483632" y="5835582"/>
                  <a:pt x="3476531" y="5821379"/>
                </a:cubicBezTo>
                <a:cubicBezTo>
                  <a:pt x="3471665" y="5811647"/>
                  <a:pt x="3464460" y="5803272"/>
                  <a:pt x="3458424" y="5794219"/>
                </a:cubicBezTo>
                <a:cubicBezTo>
                  <a:pt x="3446353" y="5776112"/>
                  <a:pt x="3435267" y="5757308"/>
                  <a:pt x="3422210" y="5739898"/>
                </a:cubicBezTo>
                <a:cubicBezTo>
                  <a:pt x="3408068" y="5721042"/>
                  <a:pt x="3392602" y="5703193"/>
                  <a:pt x="3376943" y="5685577"/>
                </a:cubicBezTo>
                <a:cubicBezTo>
                  <a:pt x="3368437" y="5676008"/>
                  <a:pt x="3356884" y="5669070"/>
                  <a:pt x="3349782" y="5658417"/>
                </a:cubicBezTo>
                <a:cubicBezTo>
                  <a:pt x="3344488" y="5650476"/>
                  <a:pt x="3346691" y="5638708"/>
                  <a:pt x="3340729" y="5631256"/>
                </a:cubicBezTo>
                <a:cubicBezTo>
                  <a:pt x="3333932" y="5622759"/>
                  <a:pt x="3321262" y="5620844"/>
                  <a:pt x="3313568" y="5613150"/>
                </a:cubicBezTo>
                <a:cubicBezTo>
                  <a:pt x="3305874" y="5605456"/>
                  <a:pt x="3301497" y="5595043"/>
                  <a:pt x="3295461" y="5585989"/>
                </a:cubicBezTo>
                <a:cubicBezTo>
                  <a:pt x="3295461" y="5585989"/>
                  <a:pt x="3260164" y="5560343"/>
                  <a:pt x="3241141" y="5549775"/>
                </a:cubicBezTo>
                <a:cubicBezTo>
                  <a:pt x="3232799" y="5545140"/>
                  <a:pt x="3223034" y="5543740"/>
                  <a:pt x="3213980" y="5540722"/>
                </a:cubicBezTo>
                <a:lnTo>
                  <a:pt x="3186820" y="5549775"/>
                </a:lnTo>
                <a:cubicBezTo>
                  <a:pt x="3123445" y="5570900"/>
                  <a:pt x="3138534" y="5549775"/>
                  <a:pt x="3123446" y="5595043"/>
                </a:cubicBezTo>
                <a:cubicBezTo>
                  <a:pt x="3123446" y="5595043"/>
                  <a:pt x="3096964" y="5629899"/>
                  <a:pt x="3087232" y="5649363"/>
                </a:cubicBezTo>
                <a:cubicBezTo>
                  <a:pt x="3080478" y="5662872"/>
                  <a:pt x="3070262" y="5733073"/>
                  <a:pt x="3069125" y="5739898"/>
                </a:cubicBezTo>
                <a:cubicBezTo>
                  <a:pt x="3066107" y="5748951"/>
                  <a:pt x="3065365" y="5759118"/>
                  <a:pt x="3060071" y="5767058"/>
                </a:cubicBezTo>
                <a:cubicBezTo>
                  <a:pt x="3052969" y="5777711"/>
                  <a:pt x="3041108" y="5784383"/>
                  <a:pt x="3032911" y="5794219"/>
                </a:cubicBezTo>
                <a:cubicBezTo>
                  <a:pt x="3025945" y="5802578"/>
                  <a:pt x="3020840" y="5812326"/>
                  <a:pt x="3014804" y="5821379"/>
                </a:cubicBezTo>
                <a:cubicBezTo>
                  <a:pt x="3005751" y="5827415"/>
                  <a:pt x="2994610" y="5831127"/>
                  <a:pt x="2987644" y="5839486"/>
                </a:cubicBezTo>
                <a:cubicBezTo>
                  <a:pt x="2979004" y="5849854"/>
                  <a:pt x="2976233" y="5863982"/>
                  <a:pt x="2969537" y="5875700"/>
                </a:cubicBezTo>
                <a:cubicBezTo>
                  <a:pt x="2964139" y="5885147"/>
                  <a:pt x="2957466" y="5893807"/>
                  <a:pt x="2951430" y="5902860"/>
                </a:cubicBezTo>
                <a:cubicBezTo>
                  <a:pt x="2939359" y="5908896"/>
                  <a:pt x="2926198" y="5913122"/>
                  <a:pt x="2915216" y="5920967"/>
                </a:cubicBezTo>
                <a:cubicBezTo>
                  <a:pt x="2879457" y="5946509"/>
                  <a:pt x="2899476" y="5948940"/>
                  <a:pt x="2860895" y="5966235"/>
                </a:cubicBezTo>
                <a:lnTo>
                  <a:pt x="2701527" y="6033660"/>
                </a:lnTo>
                <a:lnTo>
                  <a:pt x="2616452" y="6029609"/>
                </a:lnTo>
                <a:cubicBezTo>
                  <a:pt x="2587865" y="6027227"/>
                  <a:pt x="2581657" y="6012921"/>
                  <a:pt x="2562131" y="5993395"/>
                </a:cubicBezTo>
                <a:cubicBezTo>
                  <a:pt x="2542000" y="5973264"/>
                  <a:pt x="2513846" y="5963217"/>
                  <a:pt x="2489703" y="5948128"/>
                </a:cubicBezTo>
                <a:lnTo>
                  <a:pt x="2419390" y="5904182"/>
                </a:lnTo>
                <a:lnTo>
                  <a:pt x="2426329" y="5893807"/>
                </a:lnTo>
                <a:cubicBezTo>
                  <a:pt x="2440133" y="5873101"/>
                  <a:pt x="2437888" y="5845388"/>
                  <a:pt x="2444436" y="5821379"/>
                </a:cubicBezTo>
                <a:cubicBezTo>
                  <a:pt x="2446947" y="5812172"/>
                  <a:pt x="2452625" y="5803723"/>
                  <a:pt x="2453489" y="5794219"/>
                </a:cubicBezTo>
                <a:cubicBezTo>
                  <a:pt x="2458687" y="5737037"/>
                  <a:pt x="2459525" y="5679542"/>
                  <a:pt x="2462543" y="5622203"/>
                </a:cubicBezTo>
                <a:cubicBezTo>
                  <a:pt x="2457047" y="5578237"/>
                  <a:pt x="2454803" y="5545976"/>
                  <a:pt x="2444436" y="5504508"/>
                </a:cubicBezTo>
                <a:cubicBezTo>
                  <a:pt x="2438541" y="5480929"/>
                  <a:pt x="2428447" y="5466546"/>
                  <a:pt x="2426329" y="5441134"/>
                </a:cubicBezTo>
                <a:cubicBezTo>
                  <a:pt x="2421310" y="5380911"/>
                  <a:pt x="2420293" y="5320421"/>
                  <a:pt x="2417275" y="5260064"/>
                </a:cubicBezTo>
                <a:cubicBezTo>
                  <a:pt x="2417275" y="5260064"/>
                  <a:pt x="2406920" y="5223185"/>
                  <a:pt x="2399168" y="5205744"/>
                </a:cubicBezTo>
                <a:cubicBezTo>
                  <a:pt x="2394749" y="5195801"/>
                  <a:pt x="2387097" y="5187637"/>
                  <a:pt x="2381061" y="5178583"/>
                </a:cubicBezTo>
                <a:cubicBezTo>
                  <a:pt x="2372008" y="5172547"/>
                  <a:pt x="2361595" y="5168170"/>
                  <a:pt x="2353901" y="5160476"/>
                </a:cubicBezTo>
                <a:cubicBezTo>
                  <a:pt x="2282699" y="5089274"/>
                  <a:pt x="2397609" y="5180300"/>
                  <a:pt x="2308634" y="5106155"/>
                </a:cubicBezTo>
                <a:cubicBezTo>
                  <a:pt x="2263364" y="5068430"/>
                  <a:pt x="2296564" y="5110686"/>
                  <a:pt x="2263366" y="5060888"/>
                </a:cubicBezTo>
                <a:cubicBezTo>
                  <a:pt x="2263366" y="5060888"/>
                  <a:pt x="2254147" y="5058300"/>
                  <a:pt x="2242747" y="5054742"/>
                </a:cubicBezTo>
                <a:lnTo>
                  <a:pt x="2213170" y="5044245"/>
                </a:lnTo>
                <a:lnTo>
                  <a:pt x="2218099" y="5024674"/>
                </a:lnTo>
                <a:cubicBezTo>
                  <a:pt x="2227152" y="5021656"/>
                  <a:pt x="2236723" y="5019889"/>
                  <a:pt x="2245259" y="5015621"/>
                </a:cubicBezTo>
                <a:cubicBezTo>
                  <a:pt x="2254991" y="5010755"/>
                  <a:pt x="2261623" y="4998864"/>
                  <a:pt x="2272420" y="4997514"/>
                </a:cubicBezTo>
                <a:cubicBezTo>
                  <a:pt x="2335376" y="4989644"/>
                  <a:pt x="2399169" y="4991478"/>
                  <a:pt x="2462543" y="4988460"/>
                </a:cubicBezTo>
                <a:cubicBezTo>
                  <a:pt x="2515860" y="5001790"/>
                  <a:pt x="2492610" y="4997298"/>
                  <a:pt x="2562131" y="5006567"/>
                </a:cubicBezTo>
                <a:cubicBezTo>
                  <a:pt x="2586248" y="5009783"/>
                  <a:pt x="2610328" y="5017824"/>
                  <a:pt x="2634558" y="5015621"/>
                </a:cubicBezTo>
                <a:cubicBezTo>
                  <a:pt x="2645394" y="5014636"/>
                  <a:pt x="2656853" y="5007246"/>
                  <a:pt x="2661719" y="4997514"/>
                </a:cubicBezTo>
                <a:cubicBezTo>
                  <a:pt x="2669928" y="4981095"/>
                  <a:pt x="2667754" y="4961300"/>
                  <a:pt x="2670772" y="4943193"/>
                </a:cubicBezTo>
                <a:cubicBezTo>
                  <a:pt x="2622484" y="4870762"/>
                  <a:pt x="2685864" y="4958286"/>
                  <a:pt x="2625505" y="4897926"/>
                </a:cubicBezTo>
                <a:cubicBezTo>
                  <a:pt x="2617811" y="4890232"/>
                  <a:pt x="2613434" y="4879819"/>
                  <a:pt x="2607398" y="4870765"/>
                </a:cubicBezTo>
                <a:cubicBezTo>
                  <a:pt x="2545685" y="4829622"/>
                  <a:pt x="2623496" y="4876130"/>
                  <a:pt x="2525917" y="4843605"/>
                </a:cubicBezTo>
                <a:cubicBezTo>
                  <a:pt x="2515594" y="4840164"/>
                  <a:pt x="2507810" y="4831534"/>
                  <a:pt x="2498756" y="4825498"/>
                </a:cubicBezTo>
                <a:cubicBezTo>
                  <a:pt x="2483667" y="4822480"/>
                  <a:pt x="2468417" y="4820177"/>
                  <a:pt x="2453489" y="4816445"/>
                </a:cubicBezTo>
                <a:cubicBezTo>
                  <a:pt x="2444231" y="4814130"/>
                  <a:pt x="2435505" y="4810013"/>
                  <a:pt x="2426329" y="4807391"/>
                </a:cubicBezTo>
                <a:cubicBezTo>
                  <a:pt x="2414365" y="4803973"/>
                  <a:pt x="2402186" y="4801356"/>
                  <a:pt x="2390115" y="4798338"/>
                </a:cubicBezTo>
                <a:cubicBezTo>
                  <a:pt x="2385486" y="4797181"/>
                  <a:pt x="2382417" y="4794339"/>
                  <a:pt x="2380323" y="4790444"/>
                </a:cubicBezTo>
                <a:lnTo>
                  <a:pt x="2379582" y="4787773"/>
                </a:lnTo>
                <a:lnTo>
                  <a:pt x="2379586" y="4787771"/>
                </a:lnTo>
                <a:cubicBezTo>
                  <a:pt x="2384365" y="4783907"/>
                  <a:pt x="2390448" y="4778652"/>
                  <a:pt x="2399168" y="4771177"/>
                </a:cubicBezTo>
                <a:cubicBezTo>
                  <a:pt x="2408889" y="4762845"/>
                  <a:pt x="2416086" y="4751699"/>
                  <a:pt x="2426329" y="4744017"/>
                </a:cubicBezTo>
                <a:cubicBezTo>
                  <a:pt x="2440406" y="4733459"/>
                  <a:pt x="2457519" y="4727414"/>
                  <a:pt x="2471596" y="4716856"/>
                </a:cubicBezTo>
                <a:cubicBezTo>
                  <a:pt x="2481839" y="4709174"/>
                  <a:pt x="2488337" y="4697138"/>
                  <a:pt x="2498756" y="4689696"/>
                </a:cubicBezTo>
                <a:cubicBezTo>
                  <a:pt x="2563214" y="4643655"/>
                  <a:pt x="2515294" y="4712406"/>
                  <a:pt x="2589291" y="4617268"/>
                </a:cubicBezTo>
                <a:cubicBezTo>
                  <a:pt x="2595150" y="4609735"/>
                  <a:pt x="2595327" y="4599161"/>
                  <a:pt x="2598345" y="4590108"/>
                </a:cubicBezTo>
                <a:cubicBezTo>
                  <a:pt x="2605227" y="4569463"/>
                  <a:pt x="2622487" y="4553894"/>
                  <a:pt x="2634558" y="4535787"/>
                </a:cubicBezTo>
                <a:cubicBezTo>
                  <a:pt x="2634558" y="4535787"/>
                  <a:pt x="2672501" y="4513903"/>
                  <a:pt x="2688879" y="4499573"/>
                </a:cubicBezTo>
                <a:cubicBezTo>
                  <a:pt x="2697068" y="4492408"/>
                  <a:pt x="2700950" y="4481466"/>
                  <a:pt x="2706986" y="4472413"/>
                </a:cubicBezTo>
                <a:cubicBezTo>
                  <a:pt x="2716040" y="4466377"/>
                  <a:pt x="2726453" y="4462000"/>
                  <a:pt x="2734147" y="4454306"/>
                </a:cubicBezTo>
                <a:cubicBezTo>
                  <a:pt x="2754986" y="4433467"/>
                  <a:pt x="2754381" y="4418634"/>
                  <a:pt x="2761307" y="4390932"/>
                </a:cubicBezTo>
                <a:cubicBezTo>
                  <a:pt x="2806774" y="4379565"/>
                  <a:pt x="2785720" y="4385812"/>
                  <a:pt x="2824681" y="4372825"/>
                </a:cubicBezTo>
                <a:cubicBezTo>
                  <a:pt x="2842788" y="4366789"/>
                  <a:pt x="2862817" y="4364834"/>
                  <a:pt x="2879002" y="4354718"/>
                </a:cubicBezTo>
                <a:cubicBezTo>
                  <a:pt x="2888229" y="4348951"/>
                  <a:pt x="2891073" y="4336611"/>
                  <a:pt x="2897109" y="4327557"/>
                </a:cubicBezTo>
                <a:cubicBezTo>
                  <a:pt x="2897109" y="4327557"/>
                  <a:pt x="2935053" y="4305674"/>
                  <a:pt x="2951430" y="4291344"/>
                </a:cubicBezTo>
                <a:cubicBezTo>
                  <a:pt x="2959619" y="4284179"/>
                  <a:pt x="2964671" y="4273915"/>
                  <a:pt x="2969537" y="4264183"/>
                </a:cubicBezTo>
                <a:cubicBezTo>
                  <a:pt x="2973805" y="4255647"/>
                  <a:pt x="2974831" y="4245794"/>
                  <a:pt x="2978590" y="4237023"/>
                </a:cubicBezTo>
                <a:cubicBezTo>
                  <a:pt x="2984917" y="4222260"/>
                  <a:pt x="3003776" y="4192409"/>
                  <a:pt x="3005751" y="4173649"/>
                </a:cubicBezTo>
                <a:cubicBezTo>
                  <a:pt x="3010816" y="4125535"/>
                  <a:pt x="3011786" y="4077078"/>
                  <a:pt x="3014804" y="4028793"/>
                </a:cubicBezTo>
                <a:cubicBezTo>
                  <a:pt x="3011995" y="4020366"/>
                  <a:pt x="3009693" y="4013443"/>
                  <a:pt x="3007830" y="4007826"/>
                </a:cubicBezTo>
                <a:lnTo>
                  <a:pt x="3004501" y="3997766"/>
                </a:lnTo>
                <a:lnTo>
                  <a:pt x="3004152" y="3996663"/>
                </a:lnTo>
                <a:cubicBezTo>
                  <a:pt x="3000953" y="3986779"/>
                  <a:pt x="2999263" y="3981880"/>
                  <a:pt x="3003485" y="3994695"/>
                </a:cubicBezTo>
                <a:lnTo>
                  <a:pt x="3004501" y="3997766"/>
                </a:lnTo>
                <a:lnTo>
                  <a:pt x="3009533" y="4013639"/>
                </a:lnTo>
                <a:cubicBezTo>
                  <a:pt x="3016748" y="4037017"/>
                  <a:pt x="3021194" y="4054884"/>
                  <a:pt x="2987644" y="3965419"/>
                </a:cubicBezTo>
                <a:cubicBezTo>
                  <a:pt x="2983275" y="3953768"/>
                  <a:pt x="2982008" y="3941169"/>
                  <a:pt x="2978590" y="3929205"/>
                </a:cubicBezTo>
                <a:cubicBezTo>
                  <a:pt x="2971334" y="3903810"/>
                  <a:pt x="2965227" y="3889977"/>
                  <a:pt x="2951430" y="3865831"/>
                </a:cubicBezTo>
                <a:cubicBezTo>
                  <a:pt x="2946031" y="3856384"/>
                  <a:pt x="2940289" y="3847029"/>
                  <a:pt x="2933323" y="3838670"/>
                </a:cubicBezTo>
                <a:lnTo>
                  <a:pt x="2919094" y="3823798"/>
                </a:lnTo>
                <a:lnTo>
                  <a:pt x="2924269" y="3820563"/>
                </a:lnTo>
                <a:cubicBezTo>
                  <a:pt x="2939256" y="3811340"/>
                  <a:pt x="2954615" y="3802729"/>
                  <a:pt x="2969537" y="3793403"/>
                </a:cubicBezTo>
                <a:cubicBezTo>
                  <a:pt x="2978764" y="3787636"/>
                  <a:pt x="2989731" y="3783655"/>
                  <a:pt x="2996697" y="3775296"/>
                </a:cubicBezTo>
                <a:cubicBezTo>
                  <a:pt x="3005337" y="3764928"/>
                  <a:pt x="3012672" y="3752409"/>
                  <a:pt x="3014804" y="3739082"/>
                </a:cubicBezTo>
                <a:cubicBezTo>
                  <a:pt x="3043756" y="3558130"/>
                  <a:pt x="3045034" y="3597450"/>
                  <a:pt x="3014804" y="3476532"/>
                </a:cubicBezTo>
                <a:cubicBezTo>
                  <a:pt x="3003465" y="3453854"/>
                  <a:pt x="2989683" y="3420892"/>
                  <a:pt x="2969537" y="3404104"/>
                </a:cubicBezTo>
                <a:cubicBezTo>
                  <a:pt x="2962206" y="3397995"/>
                  <a:pt x="2950317" y="3400345"/>
                  <a:pt x="2942376" y="3395051"/>
                </a:cubicBezTo>
                <a:cubicBezTo>
                  <a:pt x="2931723" y="3387949"/>
                  <a:pt x="2924269" y="3376944"/>
                  <a:pt x="2915216" y="3367890"/>
                </a:cubicBezTo>
                <a:cubicBezTo>
                  <a:pt x="2906162" y="3364872"/>
                  <a:pt x="2896591" y="3363105"/>
                  <a:pt x="2888055" y="3358837"/>
                </a:cubicBezTo>
                <a:cubicBezTo>
                  <a:pt x="2872316" y="3350967"/>
                  <a:pt x="2860125" y="3334691"/>
                  <a:pt x="2842788" y="3331676"/>
                </a:cubicBezTo>
                <a:cubicBezTo>
                  <a:pt x="2735218" y="3312968"/>
                  <a:pt x="2672807" y="3323208"/>
                  <a:pt x="2571184" y="3331676"/>
                </a:cubicBezTo>
                <a:cubicBezTo>
                  <a:pt x="2516454" y="3317994"/>
                  <a:pt x="2546774" y="3326558"/>
                  <a:pt x="2480650" y="3304516"/>
                </a:cubicBezTo>
                <a:cubicBezTo>
                  <a:pt x="2441418" y="3301498"/>
                  <a:pt x="2401998" y="3300343"/>
                  <a:pt x="2362954" y="3295462"/>
                </a:cubicBezTo>
                <a:cubicBezTo>
                  <a:pt x="2353485" y="3294278"/>
                  <a:pt x="2344330" y="3290677"/>
                  <a:pt x="2335794" y="3286409"/>
                </a:cubicBezTo>
                <a:cubicBezTo>
                  <a:pt x="2305523" y="3271274"/>
                  <a:pt x="2273506" y="3235573"/>
                  <a:pt x="2254313" y="3213981"/>
                </a:cubicBezTo>
                <a:lnTo>
                  <a:pt x="2241772" y="3195170"/>
                </a:lnTo>
                <a:lnTo>
                  <a:pt x="2245259" y="3195874"/>
                </a:lnTo>
                <a:cubicBezTo>
                  <a:pt x="2491675" y="3210808"/>
                  <a:pt x="2420418" y="3231042"/>
                  <a:pt x="2525917" y="3195874"/>
                </a:cubicBezTo>
                <a:lnTo>
                  <a:pt x="2507810" y="3168714"/>
                </a:lnTo>
                <a:lnTo>
                  <a:pt x="2489703" y="3141553"/>
                </a:lnTo>
                <a:lnTo>
                  <a:pt x="2435382" y="3060072"/>
                </a:lnTo>
                <a:cubicBezTo>
                  <a:pt x="2421578" y="3039366"/>
                  <a:pt x="2423311" y="3011787"/>
                  <a:pt x="2417275" y="2987645"/>
                </a:cubicBezTo>
                <a:cubicBezTo>
                  <a:pt x="2414960" y="2978387"/>
                  <a:pt x="2411240" y="2969538"/>
                  <a:pt x="2408222" y="2960484"/>
                </a:cubicBezTo>
                <a:cubicBezTo>
                  <a:pt x="2402186" y="2942377"/>
                  <a:pt x="2392223" y="2925133"/>
                  <a:pt x="2390115" y="2906163"/>
                </a:cubicBezTo>
                <a:cubicBezTo>
                  <a:pt x="2389061" y="2896678"/>
                  <a:pt x="2397296" y="2888362"/>
                  <a:pt x="2399168" y="2879003"/>
                </a:cubicBezTo>
                <a:cubicBezTo>
                  <a:pt x="2403353" y="2858079"/>
                  <a:pt x="2405204" y="2836754"/>
                  <a:pt x="2408222" y="2815629"/>
                </a:cubicBezTo>
                <a:cubicBezTo>
                  <a:pt x="2405204" y="2803558"/>
                  <a:pt x="2403537" y="2791066"/>
                  <a:pt x="2399168" y="2779415"/>
                </a:cubicBezTo>
                <a:cubicBezTo>
                  <a:pt x="2347283" y="2641056"/>
                  <a:pt x="2245596" y="2739636"/>
                  <a:pt x="2037030" y="2734148"/>
                </a:cubicBezTo>
                <a:cubicBezTo>
                  <a:pt x="2008822" y="2743550"/>
                  <a:pt x="1997377" y="2748612"/>
                  <a:pt x="1964602" y="2752254"/>
                </a:cubicBezTo>
                <a:cubicBezTo>
                  <a:pt x="1925495" y="2756599"/>
                  <a:pt x="1884777" y="2750627"/>
                  <a:pt x="1846907" y="2761308"/>
                </a:cubicBezTo>
                <a:lnTo>
                  <a:pt x="1740269" y="2799525"/>
                </a:lnTo>
                <a:lnTo>
                  <a:pt x="1729212" y="2788468"/>
                </a:lnTo>
                <a:cubicBezTo>
                  <a:pt x="1691391" y="2756950"/>
                  <a:pt x="1697653" y="2765474"/>
                  <a:pt x="1703450" y="2771958"/>
                </a:cubicBezTo>
                <a:lnTo>
                  <a:pt x="1705315" y="2773960"/>
                </a:lnTo>
                <a:lnTo>
                  <a:pt x="1696911" y="2765348"/>
                </a:lnTo>
                <a:cubicBezTo>
                  <a:pt x="1691920" y="2760285"/>
                  <a:pt x="1684813" y="2753122"/>
                  <a:pt x="1674891" y="2743202"/>
                </a:cubicBezTo>
                <a:cubicBezTo>
                  <a:pt x="1665838" y="2740183"/>
                  <a:pt x="1656989" y="2736463"/>
                  <a:pt x="1647731" y="2734148"/>
                </a:cubicBezTo>
                <a:cubicBezTo>
                  <a:pt x="1612421" y="2725321"/>
                  <a:pt x="1574871" y="2721152"/>
                  <a:pt x="1539089" y="2716041"/>
                </a:cubicBezTo>
                <a:cubicBezTo>
                  <a:pt x="1529642" y="2714691"/>
                  <a:pt x="1520982" y="2710005"/>
                  <a:pt x="1511929" y="2706987"/>
                </a:cubicBezTo>
                <a:lnTo>
                  <a:pt x="1430448" y="2679828"/>
                </a:lnTo>
                <a:cubicBezTo>
                  <a:pt x="1394234" y="2676810"/>
                  <a:pt x="1358059" y="2673273"/>
                  <a:pt x="1321806" y="2670774"/>
                </a:cubicBezTo>
                <a:lnTo>
                  <a:pt x="1247070" y="2666378"/>
                </a:lnTo>
                <a:lnTo>
                  <a:pt x="1234456" y="2642353"/>
                </a:lnTo>
                <a:cubicBezTo>
                  <a:pt x="1227359" y="2633721"/>
                  <a:pt x="1219200" y="2625507"/>
                  <a:pt x="1213164" y="2616452"/>
                </a:cubicBezTo>
                <a:cubicBezTo>
                  <a:pt x="1176950" y="2592311"/>
                  <a:pt x="1192040" y="2607401"/>
                  <a:pt x="1167897" y="2571186"/>
                </a:cubicBezTo>
                <a:cubicBezTo>
                  <a:pt x="1155826" y="2553079"/>
                  <a:pt x="1140053" y="2536952"/>
                  <a:pt x="1131683" y="2516865"/>
                </a:cubicBezTo>
                <a:cubicBezTo>
                  <a:pt x="1124623" y="2499921"/>
                  <a:pt x="1125648" y="2480651"/>
                  <a:pt x="1122630" y="2462544"/>
                </a:cubicBezTo>
                <a:cubicBezTo>
                  <a:pt x="1122630" y="2462544"/>
                  <a:pt x="1096985" y="2427246"/>
                  <a:pt x="1086416" y="2408224"/>
                </a:cubicBezTo>
                <a:cubicBezTo>
                  <a:pt x="1081781" y="2399881"/>
                  <a:pt x="1081630" y="2389598"/>
                  <a:pt x="1077362" y="2381062"/>
                </a:cubicBezTo>
                <a:cubicBezTo>
                  <a:pt x="1072496" y="2371331"/>
                  <a:pt x="1065291" y="2362955"/>
                  <a:pt x="1059255" y="2353902"/>
                </a:cubicBezTo>
                <a:cubicBezTo>
                  <a:pt x="1045051" y="2332596"/>
                  <a:pt x="1021947" y="2318720"/>
                  <a:pt x="1004935" y="2299582"/>
                </a:cubicBezTo>
                <a:cubicBezTo>
                  <a:pt x="977615" y="2268847"/>
                  <a:pt x="987858" y="2261159"/>
                  <a:pt x="968721" y="2218100"/>
                </a:cubicBezTo>
                <a:cubicBezTo>
                  <a:pt x="964302" y="2208157"/>
                  <a:pt x="956650" y="2199994"/>
                  <a:pt x="950614" y="2190941"/>
                </a:cubicBezTo>
                <a:cubicBezTo>
                  <a:pt x="941560" y="2187923"/>
                  <a:pt x="931394" y="2187180"/>
                  <a:pt x="923453" y="2181887"/>
                </a:cubicBezTo>
                <a:cubicBezTo>
                  <a:pt x="893697" y="2162048"/>
                  <a:pt x="899062" y="2152617"/>
                  <a:pt x="878186" y="2127565"/>
                </a:cubicBezTo>
                <a:cubicBezTo>
                  <a:pt x="820091" y="2057852"/>
                  <a:pt x="877879" y="2140684"/>
                  <a:pt x="832919" y="2073245"/>
                </a:cubicBezTo>
                <a:cubicBezTo>
                  <a:pt x="823865" y="2067210"/>
                  <a:pt x="814612" y="2061464"/>
                  <a:pt x="805758" y="2055139"/>
                </a:cubicBezTo>
                <a:cubicBezTo>
                  <a:pt x="793480" y="2046369"/>
                  <a:pt x="782646" y="2035464"/>
                  <a:pt x="769545" y="2027977"/>
                </a:cubicBezTo>
                <a:cubicBezTo>
                  <a:pt x="761259" y="2023243"/>
                  <a:pt x="749132" y="2025672"/>
                  <a:pt x="742384" y="2018924"/>
                </a:cubicBezTo>
                <a:cubicBezTo>
                  <a:pt x="735636" y="2012176"/>
                  <a:pt x="736349" y="2000818"/>
                  <a:pt x="733331" y="1991764"/>
                </a:cubicBezTo>
                <a:cubicBezTo>
                  <a:pt x="724277" y="1982711"/>
                  <a:pt x="716823" y="1971705"/>
                  <a:pt x="706170" y="1964603"/>
                </a:cubicBezTo>
                <a:cubicBezTo>
                  <a:pt x="698230" y="1959311"/>
                  <a:pt x="686462" y="1961512"/>
                  <a:pt x="679010" y="1955550"/>
                </a:cubicBezTo>
                <a:cubicBezTo>
                  <a:pt x="670513" y="1948753"/>
                  <a:pt x="666939" y="1937444"/>
                  <a:pt x="660903" y="1928390"/>
                </a:cubicBezTo>
                <a:cubicBezTo>
                  <a:pt x="660903" y="1928390"/>
                  <a:pt x="623267" y="1919552"/>
                  <a:pt x="606582" y="1910282"/>
                </a:cubicBezTo>
                <a:cubicBezTo>
                  <a:pt x="595390" y="1904065"/>
                  <a:pt x="589258" y="1891318"/>
                  <a:pt x="579422" y="1883123"/>
                </a:cubicBezTo>
                <a:cubicBezTo>
                  <a:pt x="571063" y="1876156"/>
                  <a:pt x="559955" y="1872710"/>
                  <a:pt x="552261" y="1865016"/>
                </a:cubicBezTo>
                <a:cubicBezTo>
                  <a:pt x="530741" y="1843496"/>
                  <a:pt x="525012" y="1810428"/>
                  <a:pt x="516048" y="1783534"/>
                </a:cubicBezTo>
                <a:cubicBezTo>
                  <a:pt x="516048" y="1783534"/>
                  <a:pt x="506562" y="1778063"/>
                  <a:pt x="495029" y="1770801"/>
                </a:cubicBezTo>
                <a:lnTo>
                  <a:pt x="493665" y="1769904"/>
                </a:lnTo>
                <a:lnTo>
                  <a:pt x="516048" y="1765427"/>
                </a:lnTo>
                <a:cubicBezTo>
                  <a:pt x="599361" y="1759476"/>
                  <a:pt x="630764" y="1767757"/>
                  <a:pt x="697117" y="1738266"/>
                </a:cubicBezTo>
                <a:cubicBezTo>
                  <a:pt x="720397" y="1727919"/>
                  <a:pt x="731175" y="1715416"/>
                  <a:pt x="742384" y="1692999"/>
                </a:cubicBezTo>
                <a:cubicBezTo>
                  <a:pt x="746652" y="1684463"/>
                  <a:pt x="748420" y="1674892"/>
                  <a:pt x="751438" y="1665839"/>
                </a:cubicBezTo>
                <a:cubicBezTo>
                  <a:pt x="758320" y="1645194"/>
                  <a:pt x="775969" y="1629878"/>
                  <a:pt x="787652" y="1611518"/>
                </a:cubicBezTo>
                <a:cubicBezTo>
                  <a:pt x="817584" y="1564482"/>
                  <a:pt x="810407" y="1579466"/>
                  <a:pt x="823865" y="1539090"/>
                </a:cubicBezTo>
                <a:lnTo>
                  <a:pt x="841972" y="1511930"/>
                </a:lnTo>
                <a:cubicBezTo>
                  <a:pt x="841974" y="1511927"/>
                  <a:pt x="860078" y="1457613"/>
                  <a:pt x="860079" y="1457609"/>
                </a:cubicBezTo>
                <a:cubicBezTo>
                  <a:pt x="869133" y="1430449"/>
                  <a:pt x="883456" y="1404506"/>
                  <a:pt x="887240" y="1376128"/>
                </a:cubicBezTo>
                <a:cubicBezTo>
                  <a:pt x="895625" y="1313238"/>
                  <a:pt x="893275" y="1249379"/>
                  <a:pt x="896293" y="1186005"/>
                </a:cubicBezTo>
                <a:cubicBezTo>
                  <a:pt x="882972" y="1146041"/>
                  <a:pt x="891508" y="1167381"/>
                  <a:pt x="869133" y="1122631"/>
                </a:cubicBezTo>
                <a:cubicBezTo>
                  <a:pt x="863407" y="1111179"/>
                  <a:pt x="851026" y="1104524"/>
                  <a:pt x="841972" y="1095470"/>
                </a:cubicBezTo>
                <a:lnTo>
                  <a:pt x="787652" y="1041150"/>
                </a:lnTo>
                <a:cubicBezTo>
                  <a:pt x="769545" y="1023043"/>
                  <a:pt x="758800" y="989490"/>
                  <a:pt x="733331" y="986829"/>
                </a:cubicBezTo>
                <a:cubicBezTo>
                  <a:pt x="687553" y="982046"/>
                  <a:pt x="641652" y="979277"/>
                  <a:pt x="595676" y="977768"/>
                </a:cubicBezTo>
                <a:lnTo>
                  <a:pt x="495734" y="976676"/>
                </a:lnTo>
                <a:lnTo>
                  <a:pt x="507099" y="959822"/>
                </a:lnTo>
                <a:cubicBezTo>
                  <a:pt x="511661" y="949311"/>
                  <a:pt x="516187" y="938748"/>
                  <a:pt x="525101" y="932508"/>
                </a:cubicBezTo>
                <a:cubicBezTo>
                  <a:pt x="540139" y="921981"/>
                  <a:pt x="561315" y="926472"/>
                  <a:pt x="579422" y="923454"/>
                </a:cubicBezTo>
                <a:cubicBezTo>
                  <a:pt x="621671" y="920436"/>
                  <a:pt x="672013" y="939449"/>
                  <a:pt x="706170" y="914401"/>
                </a:cubicBezTo>
                <a:cubicBezTo>
                  <a:pt x="772730" y="865590"/>
                  <a:pt x="720216" y="821835"/>
                  <a:pt x="688063" y="805759"/>
                </a:cubicBezTo>
                <a:cubicBezTo>
                  <a:pt x="679527" y="801491"/>
                  <a:pt x="669956" y="799724"/>
                  <a:pt x="660903" y="796706"/>
                </a:cubicBezTo>
                <a:cubicBezTo>
                  <a:pt x="540190" y="793688"/>
                  <a:pt x="419384" y="793262"/>
                  <a:pt x="298764" y="787652"/>
                </a:cubicBezTo>
                <a:cubicBezTo>
                  <a:pt x="289231" y="787209"/>
                  <a:pt x="276897" y="786539"/>
                  <a:pt x="271604" y="778599"/>
                </a:cubicBezTo>
                <a:cubicBezTo>
                  <a:pt x="263068" y="765796"/>
                  <a:pt x="264891" y="748541"/>
                  <a:pt x="262551" y="733332"/>
                </a:cubicBezTo>
                <a:cubicBezTo>
                  <a:pt x="258851" y="709284"/>
                  <a:pt x="256713" y="685021"/>
                  <a:pt x="253497" y="660904"/>
                </a:cubicBezTo>
                <a:cubicBezTo>
                  <a:pt x="243952" y="589315"/>
                  <a:pt x="231380" y="528869"/>
                  <a:pt x="235390" y="452674"/>
                </a:cubicBezTo>
                <a:cubicBezTo>
                  <a:pt x="235962" y="441808"/>
                  <a:pt x="251217" y="436153"/>
                  <a:pt x="253497" y="425514"/>
                </a:cubicBezTo>
                <a:cubicBezTo>
                  <a:pt x="260481" y="392921"/>
                  <a:pt x="259533" y="359122"/>
                  <a:pt x="262551" y="325926"/>
                </a:cubicBezTo>
                <a:cubicBezTo>
                  <a:pt x="238408" y="322908"/>
                  <a:pt x="214061" y="312520"/>
                  <a:pt x="190123" y="316872"/>
                </a:cubicBezTo>
                <a:cubicBezTo>
                  <a:pt x="177526" y="319162"/>
                  <a:pt x="172798" y="335836"/>
                  <a:pt x="162962" y="344033"/>
                </a:cubicBezTo>
                <a:cubicBezTo>
                  <a:pt x="154603" y="350999"/>
                  <a:pt x="144855" y="356104"/>
                  <a:pt x="135802" y="362140"/>
                </a:cubicBezTo>
                <a:lnTo>
                  <a:pt x="95243" y="367210"/>
                </a:lnTo>
                <a:lnTo>
                  <a:pt x="90535" y="353086"/>
                </a:lnTo>
                <a:lnTo>
                  <a:pt x="81481" y="325926"/>
                </a:lnTo>
                <a:cubicBezTo>
                  <a:pt x="68321" y="286446"/>
                  <a:pt x="69180" y="273141"/>
                  <a:pt x="45267" y="244445"/>
                </a:cubicBezTo>
                <a:cubicBezTo>
                  <a:pt x="37070" y="234609"/>
                  <a:pt x="29224" y="223636"/>
                  <a:pt x="18107" y="217284"/>
                </a:cubicBezTo>
                <a:cubicBezTo>
                  <a:pt x="12706" y="214198"/>
                  <a:pt x="6727" y="212407"/>
                  <a:pt x="561" y="211152"/>
                </a:cubicBezTo>
                <a:lnTo>
                  <a:pt x="0" y="211065"/>
                </a:lnTo>
                <a:close/>
              </a:path>
            </a:pathLst>
          </a:cu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A98AF9B4-B14E-47CB-92C7-8AD01A9EA2AA}"/>
              </a:ext>
            </a:extLst>
          </p:cNvPr>
          <p:cNvSpPr/>
          <p:nvPr userDrawn="1"/>
        </p:nvSpPr>
        <p:spPr>
          <a:xfrm>
            <a:off x="3195962" y="-1"/>
            <a:ext cx="5524878" cy="6858001"/>
          </a:xfrm>
          <a:prstGeom prst="rect">
            <a:avLst/>
          </a:prstGeom>
          <a:gradFill>
            <a:gsLst>
              <a:gs pos="5000">
                <a:schemeClr val="tx1"/>
              </a:gs>
              <a:gs pos="68000">
                <a:schemeClr val="tx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=""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6D899D90-3467-4083-B67C-2A477EBF9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b="21786"/>
          <a:stretch/>
        </p:blipFill>
        <p:spPr>
          <a:xfrm>
            <a:off x="305487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906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ар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13" name="Group 159">
            <a:extLst>
              <a:ext uri="{FF2B5EF4-FFF2-40B4-BE49-F238E27FC236}">
                <a16:creationId xmlns="" xmlns:a16="http://schemas.microsoft.com/office/drawing/2014/main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303" y="541538"/>
            <a:ext cx="8474485" cy="5859262"/>
            <a:chOff x="363" y="356"/>
            <a:chExt cx="6954" cy="3606"/>
          </a:xfrm>
          <a:solidFill>
            <a:srgbClr val="171717">
              <a:alpha val="61000"/>
            </a:srgbClr>
          </a:solidFill>
        </p:grpSpPr>
        <p:sp>
          <p:nvSpPr>
            <p:cNvPr id="14" name="Freeform 160">
              <a:extLst>
                <a:ext uri="{FF2B5EF4-FFF2-40B4-BE49-F238E27FC236}">
                  <a16:creationId xmlns="" xmlns:a16="http://schemas.microsoft.com/office/drawing/2014/main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="" xmlns:a16="http://schemas.microsoft.com/office/drawing/2014/main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="" xmlns:a16="http://schemas.microsoft.com/office/drawing/2014/main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="" xmlns:a16="http://schemas.microsoft.com/office/drawing/2014/main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="" xmlns:a16="http://schemas.microsoft.com/office/drawing/2014/main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="" xmlns:a16="http://schemas.microsoft.com/office/drawing/2014/main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="" xmlns:a16="http://schemas.microsoft.com/office/drawing/2014/main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="" xmlns:a16="http://schemas.microsoft.com/office/drawing/2014/main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="" xmlns:a16="http://schemas.microsoft.com/office/drawing/2014/main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="" xmlns:a16="http://schemas.microsoft.com/office/drawing/2014/main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="" xmlns:a16="http://schemas.microsoft.com/office/drawing/2014/main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="" xmlns:a16="http://schemas.microsoft.com/office/drawing/2014/main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="" xmlns:a16="http://schemas.microsoft.com/office/drawing/2014/main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="" xmlns:a16="http://schemas.microsoft.com/office/drawing/2014/main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="" xmlns:a16="http://schemas.microsoft.com/office/drawing/2014/main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="" xmlns:a16="http://schemas.microsoft.com/office/drawing/2014/main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="" xmlns:a16="http://schemas.microsoft.com/office/drawing/2014/main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="" xmlns:a16="http://schemas.microsoft.com/office/drawing/2014/main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="" xmlns:a16="http://schemas.microsoft.com/office/drawing/2014/main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="" xmlns:a16="http://schemas.microsoft.com/office/drawing/2014/main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="" xmlns:a16="http://schemas.microsoft.com/office/drawing/2014/main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="" xmlns:a16="http://schemas.microsoft.com/office/drawing/2014/main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="" xmlns:a16="http://schemas.microsoft.com/office/drawing/2014/main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="" xmlns:a16="http://schemas.microsoft.com/office/drawing/2014/main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="" xmlns:a16="http://schemas.microsoft.com/office/drawing/2014/main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="" xmlns:a16="http://schemas.microsoft.com/office/drawing/2014/main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="" xmlns:a16="http://schemas.microsoft.com/office/drawing/2014/main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="" xmlns:a16="http://schemas.microsoft.com/office/drawing/2014/main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="" xmlns:a16="http://schemas.microsoft.com/office/drawing/2014/main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="" xmlns:a16="http://schemas.microsoft.com/office/drawing/2014/main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="" xmlns:a16="http://schemas.microsoft.com/office/drawing/2014/main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="" xmlns:a16="http://schemas.microsoft.com/office/drawing/2014/main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="" xmlns:a16="http://schemas.microsoft.com/office/drawing/2014/main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="" xmlns:a16="http://schemas.microsoft.com/office/drawing/2014/main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="" xmlns:a16="http://schemas.microsoft.com/office/drawing/2014/main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="" xmlns:a16="http://schemas.microsoft.com/office/drawing/2014/main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="" xmlns:a16="http://schemas.microsoft.com/office/drawing/2014/main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="" xmlns:a16="http://schemas.microsoft.com/office/drawing/2014/main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="" xmlns:a16="http://schemas.microsoft.com/office/drawing/2014/main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="" xmlns:a16="http://schemas.microsoft.com/office/drawing/2014/main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="" xmlns:a16="http://schemas.microsoft.com/office/drawing/2014/main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="" xmlns:a16="http://schemas.microsoft.com/office/drawing/2014/main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="" xmlns:a16="http://schemas.microsoft.com/office/drawing/2014/main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="" xmlns:a16="http://schemas.microsoft.com/office/drawing/2014/main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="" xmlns:a16="http://schemas.microsoft.com/office/drawing/2014/main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="" xmlns:a16="http://schemas.microsoft.com/office/drawing/2014/main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="" xmlns:a16="http://schemas.microsoft.com/office/drawing/2014/main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="" xmlns:a16="http://schemas.microsoft.com/office/drawing/2014/main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="" xmlns:a16="http://schemas.microsoft.com/office/drawing/2014/main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="" xmlns:a16="http://schemas.microsoft.com/office/drawing/2014/main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="" xmlns:a16="http://schemas.microsoft.com/office/drawing/2014/main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="" xmlns:a16="http://schemas.microsoft.com/office/drawing/2014/main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="" xmlns:a16="http://schemas.microsoft.com/office/drawing/2014/main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="" xmlns:a16="http://schemas.microsoft.com/office/drawing/2014/main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="" xmlns:a16="http://schemas.microsoft.com/office/drawing/2014/main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="" xmlns:a16="http://schemas.microsoft.com/office/drawing/2014/main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="" xmlns:a16="http://schemas.microsoft.com/office/drawing/2014/main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="" xmlns:a16="http://schemas.microsoft.com/office/drawing/2014/main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="" xmlns:a16="http://schemas.microsoft.com/office/drawing/2014/main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="" xmlns:a16="http://schemas.microsoft.com/office/drawing/2014/main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="" xmlns:a16="http://schemas.microsoft.com/office/drawing/2014/main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="" xmlns:a16="http://schemas.microsoft.com/office/drawing/2014/main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="" xmlns:a16="http://schemas.microsoft.com/office/drawing/2014/main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="" xmlns:a16="http://schemas.microsoft.com/office/drawing/2014/main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="" xmlns:a16="http://schemas.microsoft.com/office/drawing/2014/main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="" xmlns:a16="http://schemas.microsoft.com/office/drawing/2014/main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="" xmlns:a16="http://schemas.microsoft.com/office/drawing/2014/main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="" xmlns:a16="http://schemas.microsoft.com/office/drawing/2014/main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="" xmlns:a16="http://schemas.microsoft.com/office/drawing/2014/main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="" xmlns:a16="http://schemas.microsoft.com/office/drawing/2014/main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="" xmlns:a16="http://schemas.microsoft.com/office/drawing/2014/main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="" xmlns:a16="http://schemas.microsoft.com/office/drawing/2014/main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="" xmlns:a16="http://schemas.microsoft.com/office/drawing/2014/main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="" xmlns:a16="http://schemas.microsoft.com/office/drawing/2014/main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="" xmlns:a16="http://schemas.microsoft.com/office/drawing/2014/main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="" xmlns:a16="http://schemas.microsoft.com/office/drawing/2014/main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="" xmlns:a16="http://schemas.microsoft.com/office/drawing/2014/main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="" xmlns:a16="http://schemas.microsoft.com/office/drawing/2014/main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="" xmlns:a16="http://schemas.microsoft.com/office/drawing/2014/main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="" xmlns:a16="http://schemas.microsoft.com/office/drawing/2014/main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="" xmlns:a16="http://schemas.microsoft.com/office/drawing/2014/main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="" xmlns:a16="http://schemas.microsoft.com/office/drawing/2014/main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="" xmlns:a16="http://schemas.microsoft.com/office/drawing/2014/main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="" xmlns:a16="http://schemas.microsoft.com/office/drawing/2014/main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="" xmlns:a16="http://schemas.microsoft.com/office/drawing/2014/main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="" xmlns:a16="http://schemas.microsoft.com/office/drawing/2014/main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="" xmlns:a16="http://schemas.microsoft.com/office/drawing/2014/main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="" xmlns:a16="http://schemas.microsoft.com/office/drawing/2014/main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="" xmlns:a16="http://schemas.microsoft.com/office/drawing/2014/main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="" xmlns:a16="http://schemas.microsoft.com/office/drawing/2014/main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="" xmlns:a16="http://schemas.microsoft.com/office/drawing/2014/main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="" xmlns:a16="http://schemas.microsoft.com/office/drawing/2014/main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="" xmlns:a16="http://schemas.microsoft.com/office/drawing/2014/main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="" xmlns:a16="http://schemas.microsoft.com/office/drawing/2014/main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="" xmlns:a16="http://schemas.microsoft.com/office/drawing/2014/main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="" xmlns:a16="http://schemas.microsoft.com/office/drawing/2014/main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="" xmlns:a16="http://schemas.microsoft.com/office/drawing/2014/main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="" xmlns:a16="http://schemas.microsoft.com/office/drawing/2014/main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="" xmlns:a16="http://schemas.microsoft.com/office/drawing/2014/main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="" xmlns:a16="http://schemas.microsoft.com/office/drawing/2014/main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="" xmlns:a16="http://schemas.microsoft.com/office/drawing/2014/main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="" xmlns:a16="http://schemas.microsoft.com/office/drawing/2014/main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="" xmlns:a16="http://schemas.microsoft.com/office/drawing/2014/main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="" xmlns:a16="http://schemas.microsoft.com/office/drawing/2014/main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="" xmlns:a16="http://schemas.microsoft.com/office/drawing/2014/main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="" xmlns:a16="http://schemas.microsoft.com/office/drawing/2014/main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="" xmlns:a16="http://schemas.microsoft.com/office/drawing/2014/main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="" xmlns:a16="http://schemas.microsoft.com/office/drawing/2014/main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="" xmlns:a16="http://schemas.microsoft.com/office/drawing/2014/main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="" xmlns:a16="http://schemas.microsoft.com/office/drawing/2014/main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="" xmlns:a16="http://schemas.microsoft.com/office/drawing/2014/main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="" xmlns:a16="http://schemas.microsoft.com/office/drawing/2014/main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="" xmlns:a16="http://schemas.microsoft.com/office/drawing/2014/main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="" xmlns:a16="http://schemas.microsoft.com/office/drawing/2014/main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="" xmlns:a16="http://schemas.microsoft.com/office/drawing/2014/main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="" xmlns:a16="http://schemas.microsoft.com/office/drawing/2014/main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="" xmlns:a16="http://schemas.microsoft.com/office/drawing/2014/main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="" xmlns:a16="http://schemas.microsoft.com/office/drawing/2014/main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="" xmlns:a16="http://schemas.microsoft.com/office/drawing/2014/main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="" xmlns:a16="http://schemas.microsoft.com/office/drawing/2014/main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="" xmlns:a16="http://schemas.microsoft.com/office/drawing/2014/main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="" xmlns:a16="http://schemas.microsoft.com/office/drawing/2014/main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="" xmlns:a16="http://schemas.microsoft.com/office/drawing/2014/main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="" xmlns:a16="http://schemas.microsoft.com/office/drawing/2014/main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="" xmlns:a16="http://schemas.microsoft.com/office/drawing/2014/main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="" xmlns:a16="http://schemas.microsoft.com/office/drawing/2014/main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="" xmlns:a16="http://schemas.microsoft.com/office/drawing/2014/main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="" xmlns:a16="http://schemas.microsoft.com/office/drawing/2014/main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="" xmlns:a16="http://schemas.microsoft.com/office/drawing/2014/main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="" xmlns:a16="http://schemas.microsoft.com/office/drawing/2014/main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="" xmlns:a16="http://schemas.microsoft.com/office/drawing/2014/main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="" xmlns:a16="http://schemas.microsoft.com/office/drawing/2014/main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="" xmlns:a16="http://schemas.microsoft.com/office/drawing/2014/main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="" xmlns:a16="http://schemas.microsoft.com/office/drawing/2014/main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="" xmlns:a16="http://schemas.microsoft.com/office/drawing/2014/main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="" xmlns:a16="http://schemas.microsoft.com/office/drawing/2014/main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="" xmlns:a16="http://schemas.microsoft.com/office/drawing/2014/main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="" xmlns:a16="http://schemas.microsoft.com/office/drawing/2014/main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="" xmlns:a16="http://schemas.microsoft.com/office/drawing/2014/main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="" xmlns:a16="http://schemas.microsoft.com/office/drawing/2014/main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="" xmlns:a16="http://schemas.microsoft.com/office/drawing/2014/main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="" xmlns:a16="http://schemas.microsoft.com/office/drawing/2014/main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="" xmlns:a16="http://schemas.microsoft.com/office/drawing/2014/main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="" xmlns:a16="http://schemas.microsoft.com/office/drawing/2014/main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="" xmlns:a16="http://schemas.microsoft.com/office/drawing/2014/main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="" xmlns:a16="http://schemas.microsoft.com/office/drawing/2014/main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="" xmlns:a16="http://schemas.microsoft.com/office/drawing/2014/main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="" xmlns:a16="http://schemas.microsoft.com/office/drawing/2014/main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="" xmlns:a16="http://schemas.microsoft.com/office/drawing/2014/main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="" xmlns:a16="http://schemas.microsoft.com/office/drawing/2014/main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="" xmlns:a16="http://schemas.microsoft.com/office/drawing/2014/main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="" xmlns:a16="http://schemas.microsoft.com/office/drawing/2014/main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2096599"/>
            <a:ext cx="6858000" cy="2387600"/>
          </a:xfrm>
        </p:spPr>
        <p:txBody>
          <a:bodyPr anchor="b">
            <a:normAutofit/>
          </a:bodyPr>
          <a:lstStyle>
            <a:lvl1pPr marL="0" indent="0" algn="l"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=""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4484331"/>
            <a:ext cx="6858000" cy="47299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8" name="Рисунок 167">
            <a:extLst>
              <a:ext uri="{FF2B5EF4-FFF2-40B4-BE49-F238E27FC236}">
                <a16:creationId xmlns="" xmlns:a16="http://schemas.microsoft.com/office/drawing/2014/main" id="{FD1334CD-2999-49C9-BEDF-AC0CF4428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1786"/>
          <a:stretch/>
        </p:blipFill>
        <p:spPr>
          <a:xfrm>
            <a:off x="8258390" y="335195"/>
            <a:ext cx="613703" cy="73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000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артой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59">
            <a:extLst>
              <a:ext uri="{FF2B5EF4-FFF2-40B4-BE49-F238E27FC236}">
                <a16:creationId xmlns="" xmlns:a16="http://schemas.microsoft.com/office/drawing/2014/main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289" y="541539"/>
            <a:ext cx="8474480" cy="5859282"/>
            <a:chOff x="363" y="356"/>
            <a:chExt cx="6954" cy="3606"/>
          </a:xfrm>
          <a:solidFill>
            <a:schemeClr val="bg1"/>
          </a:solidFill>
        </p:grpSpPr>
        <p:sp>
          <p:nvSpPr>
            <p:cNvPr id="14" name="Freeform 160">
              <a:extLst>
                <a:ext uri="{FF2B5EF4-FFF2-40B4-BE49-F238E27FC236}">
                  <a16:creationId xmlns="" xmlns:a16="http://schemas.microsoft.com/office/drawing/2014/main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61">
              <a:extLst>
                <a:ext uri="{FF2B5EF4-FFF2-40B4-BE49-F238E27FC236}">
                  <a16:creationId xmlns="" xmlns:a16="http://schemas.microsoft.com/office/drawing/2014/main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62">
              <a:extLst>
                <a:ext uri="{FF2B5EF4-FFF2-40B4-BE49-F238E27FC236}">
                  <a16:creationId xmlns="" xmlns:a16="http://schemas.microsoft.com/office/drawing/2014/main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63">
              <a:extLst>
                <a:ext uri="{FF2B5EF4-FFF2-40B4-BE49-F238E27FC236}">
                  <a16:creationId xmlns="" xmlns:a16="http://schemas.microsoft.com/office/drawing/2014/main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64">
              <a:extLst>
                <a:ext uri="{FF2B5EF4-FFF2-40B4-BE49-F238E27FC236}">
                  <a16:creationId xmlns="" xmlns:a16="http://schemas.microsoft.com/office/drawing/2014/main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65">
              <a:extLst>
                <a:ext uri="{FF2B5EF4-FFF2-40B4-BE49-F238E27FC236}">
                  <a16:creationId xmlns="" xmlns:a16="http://schemas.microsoft.com/office/drawing/2014/main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6">
              <a:extLst>
                <a:ext uri="{FF2B5EF4-FFF2-40B4-BE49-F238E27FC236}">
                  <a16:creationId xmlns="" xmlns:a16="http://schemas.microsoft.com/office/drawing/2014/main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67">
              <a:extLst>
                <a:ext uri="{FF2B5EF4-FFF2-40B4-BE49-F238E27FC236}">
                  <a16:creationId xmlns="" xmlns:a16="http://schemas.microsoft.com/office/drawing/2014/main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68">
              <a:extLst>
                <a:ext uri="{FF2B5EF4-FFF2-40B4-BE49-F238E27FC236}">
                  <a16:creationId xmlns="" xmlns:a16="http://schemas.microsoft.com/office/drawing/2014/main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69">
              <a:extLst>
                <a:ext uri="{FF2B5EF4-FFF2-40B4-BE49-F238E27FC236}">
                  <a16:creationId xmlns="" xmlns:a16="http://schemas.microsoft.com/office/drawing/2014/main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70">
              <a:extLst>
                <a:ext uri="{FF2B5EF4-FFF2-40B4-BE49-F238E27FC236}">
                  <a16:creationId xmlns="" xmlns:a16="http://schemas.microsoft.com/office/drawing/2014/main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71">
              <a:extLst>
                <a:ext uri="{FF2B5EF4-FFF2-40B4-BE49-F238E27FC236}">
                  <a16:creationId xmlns="" xmlns:a16="http://schemas.microsoft.com/office/drawing/2014/main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2">
              <a:extLst>
                <a:ext uri="{FF2B5EF4-FFF2-40B4-BE49-F238E27FC236}">
                  <a16:creationId xmlns="" xmlns:a16="http://schemas.microsoft.com/office/drawing/2014/main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73">
              <a:extLst>
                <a:ext uri="{FF2B5EF4-FFF2-40B4-BE49-F238E27FC236}">
                  <a16:creationId xmlns="" xmlns:a16="http://schemas.microsoft.com/office/drawing/2014/main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74">
              <a:extLst>
                <a:ext uri="{FF2B5EF4-FFF2-40B4-BE49-F238E27FC236}">
                  <a16:creationId xmlns="" xmlns:a16="http://schemas.microsoft.com/office/drawing/2014/main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75">
              <a:extLst>
                <a:ext uri="{FF2B5EF4-FFF2-40B4-BE49-F238E27FC236}">
                  <a16:creationId xmlns="" xmlns:a16="http://schemas.microsoft.com/office/drawing/2014/main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76">
              <a:extLst>
                <a:ext uri="{FF2B5EF4-FFF2-40B4-BE49-F238E27FC236}">
                  <a16:creationId xmlns="" xmlns:a16="http://schemas.microsoft.com/office/drawing/2014/main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77">
              <a:extLst>
                <a:ext uri="{FF2B5EF4-FFF2-40B4-BE49-F238E27FC236}">
                  <a16:creationId xmlns="" xmlns:a16="http://schemas.microsoft.com/office/drawing/2014/main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78">
              <a:extLst>
                <a:ext uri="{FF2B5EF4-FFF2-40B4-BE49-F238E27FC236}">
                  <a16:creationId xmlns="" xmlns:a16="http://schemas.microsoft.com/office/drawing/2014/main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9">
              <a:extLst>
                <a:ext uri="{FF2B5EF4-FFF2-40B4-BE49-F238E27FC236}">
                  <a16:creationId xmlns="" xmlns:a16="http://schemas.microsoft.com/office/drawing/2014/main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0">
              <a:extLst>
                <a:ext uri="{FF2B5EF4-FFF2-40B4-BE49-F238E27FC236}">
                  <a16:creationId xmlns="" xmlns:a16="http://schemas.microsoft.com/office/drawing/2014/main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81">
              <a:extLst>
                <a:ext uri="{FF2B5EF4-FFF2-40B4-BE49-F238E27FC236}">
                  <a16:creationId xmlns="" xmlns:a16="http://schemas.microsoft.com/office/drawing/2014/main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82">
              <a:extLst>
                <a:ext uri="{FF2B5EF4-FFF2-40B4-BE49-F238E27FC236}">
                  <a16:creationId xmlns="" xmlns:a16="http://schemas.microsoft.com/office/drawing/2014/main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83">
              <a:extLst>
                <a:ext uri="{FF2B5EF4-FFF2-40B4-BE49-F238E27FC236}">
                  <a16:creationId xmlns="" xmlns:a16="http://schemas.microsoft.com/office/drawing/2014/main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84">
              <a:extLst>
                <a:ext uri="{FF2B5EF4-FFF2-40B4-BE49-F238E27FC236}">
                  <a16:creationId xmlns="" xmlns:a16="http://schemas.microsoft.com/office/drawing/2014/main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85">
              <a:extLst>
                <a:ext uri="{FF2B5EF4-FFF2-40B4-BE49-F238E27FC236}">
                  <a16:creationId xmlns="" xmlns:a16="http://schemas.microsoft.com/office/drawing/2014/main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="" xmlns:a16="http://schemas.microsoft.com/office/drawing/2014/main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="" xmlns:a16="http://schemas.microsoft.com/office/drawing/2014/main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="" xmlns:a16="http://schemas.microsoft.com/office/drawing/2014/main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="" xmlns:a16="http://schemas.microsoft.com/office/drawing/2014/main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="" xmlns:a16="http://schemas.microsoft.com/office/drawing/2014/main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91">
              <a:extLst>
                <a:ext uri="{FF2B5EF4-FFF2-40B4-BE49-F238E27FC236}">
                  <a16:creationId xmlns="" xmlns:a16="http://schemas.microsoft.com/office/drawing/2014/main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92">
              <a:extLst>
                <a:ext uri="{FF2B5EF4-FFF2-40B4-BE49-F238E27FC236}">
                  <a16:creationId xmlns="" xmlns:a16="http://schemas.microsoft.com/office/drawing/2014/main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93">
              <a:extLst>
                <a:ext uri="{FF2B5EF4-FFF2-40B4-BE49-F238E27FC236}">
                  <a16:creationId xmlns="" xmlns:a16="http://schemas.microsoft.com/office/drawing/2014/main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94">
              <a:extLst>
                <a:ext uri="{FF2B5EF4-FFF2-40B4-BE49-F238E27FC236}">
                  <a16:creationId xmlns="" xmlns:a16="http://schemas.microsoft.com/office/drawing/2014/main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95">
              <a:extLst>
                <a:ext uri="{FF2B5EF4-FFF2-40B4-BE49-F238E27FC236}">
                  <a16:creationId xmlns="" xmlns:a16="http://schemas.microsoft.com/office/drawing/2014/main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96">
              <a:extLst>
                <a:ext uri="{FF2B5EF4-FFF2-40B4-BE49-F238E27FC236}">
                  <a16:creationId xmlns="" xmlns:a16="http://schemas.microsoft.com/office/drawing/2014/main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97">
              <a:extLst>
                <a:ext uri="{FF2B5EF4-FFF2-40B4-BE49-F238E27FC236}">
                  <a16:creationId xmlns="" xmlns:a16="http://schemas.microsoft.com/office/drawing/2014/main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98">
              <a:extLst>
                <a:ext uri="{FF2B5EF4-FFF2-40B4-BE49-F238E27FC236}">
                  <a16:creationId xmlns="" xmlns:a16="http://schemas.microsoft.com/office/drawing/2014/main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99">
              <a:extLst>
                <a:ext uri="{FF2B5EF4-FFF2-40B4-BE49-F238E27FC236}">
                  <a16:creationId xmlns="" xmlns:a16="http://schemas.microsoft.com/office/drawing/2014/main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200">
              <a:extLst>
                <a:ext uri="{FF2B5EF4-FFF2-40B4-BE49-F238E27FC236}">
                  <a16:creationId xmlns="" xmlns:a16="http://schemas.microsoft.com/office/drawing/2014/main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201">
              <a:extLst>
                <a:ext uri="{FF2B5EF4-FFF2-40B4-BE49-F238E27FC236}">
                  <a16:creationId xmlns="" xmlns:a16="http://schemas.microsoft.com/office/drawing/2014/main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202">
              <a:extLst>
                <a:ext uri="{FF2B5EF4-FFF2-40B4-BE49-F238E27FC236}">
                  <a16:creationId xmlns="" xmlns:a16="http://schemas.microsoft.com/office/drawing/2014/main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203">
              <a:extLst>
                <a:ext uri="{FF2B5EF4-FFF2-40B4-BE49-F238E27FC236}">
                  <a16:creationId xmlns="" xmlns:a16="http://schemas.microsoft.com/office/drawing/2014/main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04">
              <a:extLst>
                <a:ext uri="{FF2B5EF4-FFF2-40B4-BE49-F238E27FC236}">
                  <a16:creationId xmlns="" xmlns:a16="http://schemas.microsoft.com/office/drawing/2014/main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205">
              <a:extLst>
                <a:ext uri="{FF2B5EF4-FFF2-40B4-BE49-F238E27FC236}">
                  <a16:creationId xmlns="" xmlns:a16="http://schemas.microsoft.com/office/drawing/2014/main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06">
              <a:extLst>
                <a:ext uri="{FF2B5EF4-FFF2-40B4-BE49-F238E27FC236}">
                  <a16:creationId xmlns="" xmlns:a16="http://schemas.microsoft.com/office/drawing/2014/main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07">
              <a:extLst>
                <a:ext uri="{FF2B5EF4-FFF2-40B4-BE49-F238E27FC236}">
                  <a16:creationId xmlns="" xmlns:a16="http://schemas.microsoft.com/office/drawing/2014/main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208">
              <a:extLst>
                <a:ext uri="{FF2B5EF4-FFF2-40B4-BE49-F238E27FC236}">
                  <a16:creationId xmlns="" xmlns:a16="http://schemas.microsoft.com/office/drawing/2014/main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209">
              <a:extLst>
                <a:ext uri="{FF2B5EF4-FFF2-40B4-BE49-F238E27FC236}">
                  <a16:creationId xmlns="" xmlns:a16="http://schemas.microsoft.com/office/drawing/2014/main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210">
              <a:extLst>
                <a:ext uri="{FF2B5EF4-FFF2-40B4-BE49-F238E27FC236}">
                  <a16:creationId xmlns="" xmlns:a16="http://schemas.microsoft.com/office/drawing/2014/main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11">
              <a:extLst>
                <a:ext uri="{FF2B5EF4-FFF2-40B4-BE49-F238E27FC236}">
                  <a16:creationId xmlns="" xmlns:a16="http://schemas.microsoft.com/office/drawing/2014/main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12">
              <a:extLst>
                <a:ext uri="{FF2B5EF4-FFF2-40B4-BE49-F238E27FC236}">
                  <a16:creationId xmlns="" xmlns:a16="http://schemas.microsoft.com/office/drawing/2014/main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13">
              <a:extLst>
                <a:ext uri="{FF2B5EF4-FFF2-40B4-BE49-F238E27FC236}">
                  <a16:creationId xmlns="" xmlns:a16="http://schemas.microsoft.com/office/drawing/2014/main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14">
              <a:extLst>
                <a:ext uri="{FF2B5EF4-FFF2-40B4-BE49-F238E27FC236}">
                  <a16:creationId xmlns="" xmlns:a16="http://schemas.microsoft.com/office/drawing/2014/main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15">
              <a:extLst>
                <a:ext uri="{FF2B5EF4-FFF2-40B4-BE49-F238E27FC236}">
                  <a16:creationId xmlns="" xmlns:a16="http://schemas.microsoft.com/office/drawing/2014/main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16">
              <a:extLst>
                <a:ext uri="{FF2B5EF4-FFF2-40B4-BE49-F238E27FC236}">
                  <a16:creationId xmlns="" xmlns:a16="http://schemas.microsoft.com/office/drawing/2014/main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17">
              <a:extLst>
                <a:ext uri="{FF2B5EF4-FFF2-40B4-BE49-F238E27FC236}">
                  <a16:creationId xmlns="" xmlns:a16="http://schemas.microsoft.com/office/drawing/2014/main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18">
              <a:extLst>
                <a:ext uri="{FF2B5EF4-FFF2-40B4-BE49-F238E27FC236}">
                  <a16:creationId xmlns="" xmlns:a16="http://schemas.microsoft.com/office/drawing/2014/main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19">
              <a:extLst>
                <a:ext uri="{FF2B5EF4-FFF2-40B4-BE49-F238E27FC236}">
                  <a16:creationId xmlns="" xmlns:a16="http://schemas.microsoft.com/office/drawing/2014/main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20">
              <a:extLst>
                <a:ext uri="{FF2B5EF4-FFF2-40B4-BE49-F238E27FC236}">
                  <a16:creationId xmlns="" xmlns:a16="http://schemas.microsoft.com/office/drawing/2014/main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21">
              <a:extLst>
                <a:ext uri="{FF2B5EF4-FFF2-40B4-BE49-F238E27FC236}">
                  <a16:creationId xmlns="" xmlns:a16="http://schemas.microsoft.com/office/drawing/2014/main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22">
              <a:extLst>
                <a:ext uri="{FF2B5EF4-FFF2-40B4-BE49-F238E27FC236}">
                  <a16:creationId xmlns="" xmlns:a16="http://schemas.microsoft.com/office/drawing/2014/main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23">
              <a:extLst>
                <a:ext uri="{FF2B5EF4-FFF2-40B4-BE49-F238E27FC236}">
                  <a16:creationId xmlns="" xmlns:a16="http://schemas.microsoft.com/office/drawing/2014/main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24">
              <a:extLst>
                <a:ext uri="{FF2B5EF4-FFF2-40B4-BE49-F238E27FC236}">
                  <a16:creationId xmlns="" xmlns:a16="http://schemas.microsoft.com/office/drawing/2014/main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25">
              <a:extLst>
                <a:ext uri="{FF2B5EF4-FFF2-40B4-BE49-F238E27FC236}">
                  <a16:creationId xmlns="" xmlns:a16="http://schemas.microsoft.com/office/drawing/2014/main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26">
              <a:extLst>
                <a:ext uri="{FF2B5EF4-FFF2-40B4-BE49-F238E27FC236}">
                  <a16:creationId xmlns="" xmlns:a16="http://schemas.microsoft.com/office/drawing/2014/main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7">
              <a:extLst>
                <a:ext uri="{FF2B5EF4-FFF2-40B4-BE49-F238E27FC236}">
                  <a16:creationId xmlns="" xmlns:a16="http://schemas.microsoft.com/office/drawing/2014/main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28">
              <a:extLst>
                <a:ext uri="{FF2B5EF4-FFF2-40B4-BE49-F238E27FC236}">
                  <a16:creationId xmlns="" xmlns:a16="http://schemas.microsoft.com/office/drawing/2014/main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29">
              <a:extLst>
                <a:ext uri="{FF2B5EF4-FFF2-40B4-BE49-F238E27FC236}">
                  <a16:creationId xmlns="" xmlns:a16="http://schemas.microsoft.com/office/drawing/2014/main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30">
              <a:extLst>
                <a:ext uri="{FF2B5EF4-FFF2-40B4-BE49-F238E27FC236}">
                  <a16:creationId xmlns="" xmlns:a16="http://schemas.microsoft.com/office/drawing/2014/main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31">
              <a:extLst>
                <a:ext uri="{FF2B5EF4-FFF2-40B4-BE49-F238E27FC236}">
                  <a16:creationId xmlns="" xmlns:a16="http://schemas.microsoft.com/office/drawing/2014/main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32">
              <a:extLst>
                <a:ext uri="{FF2B5EF4-FFF2-40B4-BE49-F238E27FC236}">
                  <a16:creationId xmlns="" xmlns:a16="http://schemas.microsoft.com/office/drawing/2014/main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33">
              <a:extLst>
                <a:ext uri="{FF2B5EF4-FFF2-40B4-BE49-F238E27FC236}">
                  <a16:creationId xmlns="" xmlns:a16="http://schemas.microsoft.com/office/drawing/2014/main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34">
              <a:extLst>
                <a:ext uri="{FF2B5EF4-FFF2-40B4-BE49-F238E27FC236}">
                  <a16:creationId xmlns="" xmlns:a16="http://schemas.microsoft.com/office/drawing/2014/main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35">
              <a:extLst>
                <a:ext uri="{FF2B5EF4-FFF2-40B4-BE49-F238E27FC236}">
                  <a16:creationId xmlns="" xmlns:a16="http://schemas.microsoft.com/office/drawing/2014/main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36">
              <a:extLst>
                <a:ext uri="{FF2B5EF4-FFF2-40B4-BE49-F238E27FC236}">
                  <a16:creationId xmlns="" xmlns:a16="http://schemas.microsoft.com/office/drawing/2014/main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37">
              <a:extLst>
                <a:ext uri="{FF2B5EF4-FFF2-40B4-BE49-F238E27FC236}">
                  <a16:creationId xmlns="" xmlns:a16="http://schemas.microsoft.com/office/drawing/2014/main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38">
              <a:extLst>
                <a:ext uri="{FF2B5EF4-FFF2-40B4-BE49-F238E27FC236}">
                  <a16:creationId xmlns="" xmlns:a16="http://schemas.microsoft.com/office/drawing/2014/main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39">
              <a:extLst>
                <a:ext uri="{FF2B5EF4-FFF2-40B4-BE49-F238E27FC236}">
                  <a16:creationId xmlns="" xmlns:a16="http://schemas.microsoft.com/office/drawing/2014/main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40">
              <a:extLst>
                <a:ext uri="{FF2B5EF4-FFF2-40B4-BE49-F238E27FC236}">
                  <a16:creationId xmlns="" xmlns:a16="http://schemas.microsoft.com/office/drawing/2014/main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41">
              <a:extLst>
                <a:ext uri="{FF2B5EF4-FFF2-40B4-BE49-F238E27FC236}">
                  <a16:creationId xmlns="" xmlns:a16="http://schemas.microsoft.com/office/drawing/2014/main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42">
              <a:extLst>
                <a:ext uri="{FF2B5EF4-FFF2-40B4-BE49-F238E27FC236}">
                  <a16:creationId xmlns="" xmlns:a16="http://schemas.microsoft.com/office/drawing/2014/main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43">
              <a:extLst>
                <a:ext uri="{FF2B5EF4-FFF2-40B4-BE49-F238E27FC236}">
                  <a16:creationId xmlns="" xmlns:a16="http://schemas.microsoft.com/office/drawing/2014/main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44">
              <a:extLst>
                <a:ext uri="{FF2B5EF4-FFF2-40B4-BE49-F238E27FC236}">
                  <a16:creationId xmlns="" xmlns:a16="http://schemas.microsoft.com/office/drawing/2014/main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45">
              <a:extLst>
                <a:ext uri="{FF2B5EF4-FFF2-40B4-BE49-F238E27FC236}">
                  <a16:creationId xmlns="" xmlns:a16="http://schemas.microsoft.com/office/drawing/2014/main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46">
              <a:extLst>
                <a:ext uri="{FF2B5EF4-FFF2-40B4-BE49-F238E27FC236}">
                  <a16:creationId xmlns="" xmlns:a16="http://schemas.microsoft.com/office/drawing/2014/main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47">
              <a:extLst>
                <a:ext uri="{FF2B5EF4-FFF2-40B4-BE49-F238E27FC236}">
                  <a16:creationId xmlns="" xmlns:a16="http://schemas.microsoft.com/office/drawing/2014/main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48">
              <a:extLst>
                <a:ext uri="{FF2B5EF4-FFF2-40B4-BE49-F238E27FC236}">
                  <a16:creationId xmlns="" xmlns:a16="http://schemas.microsoft.com/office/drawing/2014/main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49">
              <a:extLst>
                <a:ext uri="{FF2B5EF4-FFF2-40B4-BE49-F238E27FC236}">
                  <a16:creationId xmlns="" xmlns:a16="http://schemas.microsoft.com/office/drawing/2014/main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50">
              <a:extLst>
                <a:ext uri="{FF2B5EF4-FFF2-40B4-BE49-F238E27FC236}">
                  <a16:creationId xmlns="" xmlns:a16="http://schemas.microsoft.com/office/drawing/2014/main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51">
              <a:extLst>
                <a:ext uri="{FF2B5EF4-FFF2-40B4-BE49-F238E27FC236}">
                  <a16:creationId xmlns="" xmlns:a16="http://schemas.microsoft.com/office/drawing/2014/main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52">
              <a:extLst>
                <a:ext uri="{FF2B5EF4-FFF2-40B4-BE49-F238E27FC236}">
                  <a16:creationId xmlns="" xmlns:a16="http://schemas.microsoft.com/office/drawing/2014/main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53">
              <a:extLst>
                <a:ext uri="{FF2B5EF4-FFF2-40B4-BE49-F238E27FC236}">
                  <a16:creationId xmlns="" xmlns:a16="http://schemas.microsoft.com/office/drawing/2014/main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54">
              <a:extLst>
                <a:ext uri="{FF2B5EF4-FFF2-40B4-BE49-F238E27FC236}">
                  <a16:creationId xmlns="" xmlns:a16="http://schemas.microsoft.com/office/drawing/2014/main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55">
              <a:extLst>
                <a:ext uri="{FF2B5EF4-FFF2-40B4-BE49-F238E27FC236}">
                  <a16:creationId xmlns="" xmlns:a16="http://schemas.microsoft.com/office/drawing/2014/main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56">
              <a:extLst>
                <a:ext uri="{FF2B5EF4-FFF2-40B4-BE49-F238E27FC236}">
                  <a16:creationId xmlns="" xmlns:a16="http://schemas.microsoft.com/office/drawing/2014/main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57">
              <a:extLst>
                <a:ext uri="{FF2B5EF4-FFF2-40B4-BE49-F238E27FC236}">
                  <a16:creationId xmlns="" xmlns:a16="http://schemas.microsoft.com/office/drawing/2014/main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58">
              <a:extLst>
                <a:ext uri="{FF2B5EF4-FFF2-40B4-BE49-F238E27FC236}">
                  <a16:creationId xmlns="" xmlns:a16="http://schemas.microsoft.com/office/drawing/2014/main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59">
              <a:extLst>
                <a:ext uri="{FF2B5EF4-FFF2-40B4-BE49-F238E27FC236}">
                  <a16:creationId xmlns="" xmlns:a16="http://schemas.microsoft.com/office/drawing/2014/main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60">
              <a:extLst>
                <a:ext uri="{FF2B5EF4-FFF2-40B4-BE49-F238E27FC236}">
                  <a16:creationId xmlns="" xmlns:a16="http://schemas.microsoft.com/office/drawing/2014/main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61">
              <a:extLst>
                <a:ext uri="{FF2B5EF4-FFF2-40B4-BE49-F238E27FC236}">
                  <a16:creationId xmlns="" xmlns:a16="http://schemas.microsoft.com/office/drawing/2014/main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62">
              <a:extLst>
                <a:ext uri="{FF2B5EF4-FFF2-40B4-BE49-F238E27FC236}">
                  <a16:creationId xmlns="" xmlns:a16="http://schemas.microsoft.com/office/drawing/2014/main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63">
              <a:extLst>
                <a:ext uri="{FF2B5EF4-FFF2-40B4-BE49-F238E27FC236}">
                  <a16:creationId xmlns="" xmlns:a16="http://schemas.microsoft.com/office/drawing/2014/main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64">
              <a:extLst>
                <a:ext uri="{FF2B5EF4-FFF2-40B4-BE49-F238E27FC236}">
                  <a16:creationId xmlns="" xmlns:a16="http://schemas.microsoft.com/office/drawing/2014/main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65">
              <a:extLst>
                <a:ext uri="{FF2B5EF4-FFF2-40B4-BE49-F238E27FC236}">
                  <a16:creationId xmlns="" xmlns:a16="http://schemas.microsoft.com/office/drawing/2014/main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66">
              <a:extLst>
                <a:ext uri="{FF2B5EF4-FFF2-40B4-BE49-F238E27FC236}">
                  <a16:creationId xmlns="" xmlns:a16="http://schemas.microsoft.com/office/drawing/2014/main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67">
              <a:extLst>
                <a:ext uri="{FF2B5EF4-FFF2-40B4-BE49-F238E27FC236}">
                  <a16:creationId xmlns="" xmlns:a16="http://schemas.microsoft.com/office/drawing/2014/main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68">
              <a:extLst>
                <a:ext uri="{FF2B5EF4-FFF2-40B4-BE49-F238E27FC236}">
                  <a16:creationId xmlns="" xmlns:a16="http://schemas.microsoft.com/office/drawing/2014/main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69">
              <a:extLst>
                <a:ext uri="{FF2B5EF4-FFF2-40B4-BE49-F238E27FC236}">
                  <a16:creationId xmlns="" xmlns:a16="http://schemas.microsoft.com/office/drawing/2014/main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70">
              <a:extLst>
                <a:ext uri="{FF2B5EF4-FFF2-40B4-BE49-F238E27FC236}">
                  <a16:creationId xmlns="" xmlns:a16="http://schemas.microsoft.com/office/drawing/2014/main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71">
              <a:extLst>
                <a:ext uri="{FF2B5EF4-FFF2-40B4-BE49-F238E27FC236}">
                  <a16:creationId xmlns="" xmlns:a16="http://schemas.microsoft.com/office/drawing/2014/main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72">
              <a:extLst>
                <a:ext uri="{FF2B5EF4-FFF2-40B4-BE49-F238E27FC236}">
                  <a16:creationId xmlns="" xmlns:a16="http://schemas.microsoft.com/office/drawing/2014/main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73">
              <a:extLst>
                <a:ext uri="{FF2B5EF4-FFF2-40B4-BE49-F238E27FC236}">
                  <a16:creationId xmlns="" xmlns:a16="http://schemas.microsoft.com/office/drawing/2014/main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74">
              <a:extLst>
                <a:ext uri="{FF2B5EF4-FFF2-40B4-BE49-F238E27FC236}">
                  <a16:creationId xmlns="" xmlns:a16="http://schemas.microsoft.com/office/drawing/2014/main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75">
              <a:extLst>
                <a:ext uri="{FF2B5EF4-FFF2-40B4-BE49-F238E27FC236}">
                  <a16:creationId xmlns="" xmlns:a16="http://schemas.microsoft.com/office/drawing/2014/main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76">
              <a:extLst>
                <a:ext uri="{FF2B5EF4-FFF2-40B4-BE49-F238E27FC236}">
                  <a16:creationId xmlns="" xmlns:a16="http://schemas.microsoft.com/office/drawing/2014/main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77">
              <a:extLst>
                <a:ext uri="{FF2B5EF4-FFF2-40B4-BE49-F238E27FC236}">
                  <a16:creationId xmlns="" xmlns:a16="http://schemas.microsoft.com/office/drawing/2014/main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78">
              <a:extLst>
                <a:ext uri="{FF2B5EF4-FFF2-40B4-BE49-F238E27FC236}">
                  <a16:creationId xmlns="" xmlns:a16="http://schemas.microsoft.com/office/drawing/2014/main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79">
              <a:extLst>
                <a:ext uri="{FF2B5EF4-FFF2-40B4-BE49-F238E27FC236}">
                  <a16:creationId xmlns="" xmlns:a16="http://schemas.microsoft.com/office/drawing/2014/main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80">
              <a:extLst>
                <a:ext uri="{FF2B5EF4-FFF2-40B4-BE49-F238E27FC236}">
                  <a16:creationId xmlns="" xmlns:a16="http://schemas.microsoft.com/office/drawing/2014/main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81">
              <a:extLst>
                <a:ext uri="{FF2B5EF4-FFF2-40B4-BE49-F238E27FC236}">
                  <a16:creationId xmlns="" xmlns:a16="http://schemas.microsoft.com/office/drawing/2014/main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82">
              <a:extLst>
                <a:ext uri="{FF2B5EF4-FFF2-40B4-BE49-F238E27FC236}">
                  <a16:creationId xmlns="" xmlns:a16="http://schemas.microsoft.com/office/drawing/2014/main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83">
              <a:extLst>
                <a:ext uri="{FF2B5EF4-FFF2-40B4-BE49-F238E27FC236}">
                  <a16:creationId xmlns="" xmlns:a16="http://schemas.microsoft.com/office/drawing/2014/main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84">
              <a:extLst>
                <a:ext uri="{FF2B5EF4-FFF2-40B4-BE49-F238E27FC236}">
                  <a16:creationId xmlns="" xmlns:a16="http://schemas.microsoft.com/office/drawing/2014/main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85">
              <a:extLst>
                <a:ext uri="{FF2B5EF4-FFF2-40B4-BE49-F238E27FC236}">
                  <a16:creationId xmlns="" xmlns:a16="http://schemas.microsoft.com/office/drawing/2014/main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86">
              <a:extLst>
                <a:ext uri="{FF2B5EF4-FFF2-40B4-BE49-F238E27FC236}">
                  <a16:creationId xmlns="" xmlns:a16="http://schemas.microsoft.com/office/drawing/2014/main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87">
              <a:extLst>
                <a:ext uri="{FF2B5EF4-FFF2-40B4-BE49-F238E27FC236}">
                  <a16:creationId xmlns="" xmlns:a16="http://schemas.microsoft.com/office/drawing/2014/main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88">
              <a:extLst>
                <a:ext uri="{FF2B5EF4-FFF2-40B4-BE49-F238E27FC236}">
                  <a16:creationId xmlns="" xmlns:a16="http://schemas.microsoft.com/office/drawing/2014/main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89">
              <a:extLst>
                <a:ext uri="{FF2B5EF4-FFF2-40B4-BE49-F238E27FC236}">
                  <a16:creationId xmlns="" xmlns:a16="http://schemas.microsoft.com/office/drawing/2014/main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0">
              <a:extLst>
                <a:ext uri="{FF2B5EF4-FFF2-40B4-BE49-F238E27FC236}">
                  <a16:creationId xmlns="" xmlns:a16="http://schemas.microsoft.com/office/drawing/2014/main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91">
              <a:extLst>
                <a:ext uri="{FF2B5EF4-FFF2-40B4-BE49-F238E27FC236}">
                  <a16:creationId xmlns="" xmlns:a16="http://schemas.microsoft.com/office/drawing/2014/main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92">
              <a:extLst>
                <a:ext uri="{FF2B5EF4-FFF2-40B4-BE49-F238E27FC236}">
                  <a16:creationId xmlns="" xmlns:a16="http://schemas.microsoft.com/office/drawing/2014/main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93">
              <a:extLst>
                <a:ext uri="{FF2B5EF4-FFF2-40B4-BE49-F238E27FC236}">
                  <a16:creationId xmlns="" xmlns:a16="http://schemas.microsoft.com/office/drawing/2014/main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94">
              <a:extLst>
                <a:ext uri="{FF2B5EF4-FFF2-40B4-BE49-F238E27FC236}">
                  <a16:creationId xmlns="" xmlns:a16="http://schemas.microsoft.com/office/drawing/2014/main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95">
              <a:extLst>
                <a:ext uri="{FF2B5EF4-FFF2-40B4-BE49-F238E27FC236}">
                  <a16:creationId xmlns="" xmlns:a16="http://schemas.microsoft.com/office/drawing/2014/main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96">
              <a:extLst>
                <a:ext uri="{FF2B5EF4-FFF2-40B4-BE49-F238E27FC236}">
                  <a16:creationId xmlns="" xmlns:a16="http://schemas.microsoft.com/office/drawing/2014/main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97">
              <a:extLst>
                <a:ext uri="{FF2B5EF4-FFF2-40B4-BE49-F238E27FC236}">
                  <a16:creationId xmlns="" xmlns:a16="http://schemas.microsoft.com/office/drawing/2014/main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98">
              <a:extLst>
                <a:ext uri="{FF2B5EF4-FFF2-40B4-BE49-F238E27FC236}">
                  <a16:creationId xmlns="" xmlns:a16="http://schemas.microsoft.com/office/drawing/2014/main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99">
              <a:extLst>
                <a:ext uri="{FF2B5EF4-FFF2-40B4-BE49-F238E27FC236}">
                  <a16:creationId xmlns="" xmlns:a16="http://schemas.microsoft.com/office/drawing/2014/main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300">
              <a:extLst>
                <a:ext uri="{FF2B5EF4-FFF2-40B4-BE49-F238E27FC236}">
                  <a16:creationId xmlns="" xmlns:a16="http://schemas.microsoft.com/office/drawing/2014/main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301">
              <a:extLst>
                <a:ext uri="{FF2B5EF4-FFF2-40B4-BE49-F238E27FC236}">
                  <a16:creationId xmlns="" xmlns:a16="http://schemas.microsoft.com/office/drawing/2014/main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302">
              <a:extLst>
                <a:ext uri="{FF2B5EF4-FFF2-40B4-BE49-F238E27FC236}">
                  <a16:creationId xmlns="" xmlns:a16="http://schemas.microsoft.com/office/drawing/2014/main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303">
              <a:extLst>
                <a:ext uri="{FF2B5EF4-FFF2-40B4-BE49-F238E27FC236}">
                  <a16:creationId xmlns="" xmlns:a16="http://schemas.microsoft.com/office/drawing/2014/main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304">
              <a:extLst>
                <a:ext uri="{FF2B5EF4-FFF2-40B4-BE49-F238E27FC236}">
                  <a16:creationId xmlns="" xmlns:a16="http://schemas.microsoft.com/office/drawing/2014/main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305">
              <a:extLst>
                <a:ext uri="{FF2B5EF4-FFF2-40B4-BE49-F238E27FC236}">
                  <a16:creationId xmlns="" xmlns:a16="http://schemas.microsoft.com/office/drawing/2014/main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306">
              <a:extLst>
                <a:ext uri="{FF2B5EF4-FFF2-40B4-BE49-F238E27FC236}">
                  <a16:creationId xmlns="" xmlns:a16="http://schemas.microsoft.com/office/drawing/2014/main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307">
              <a:extLst>
                <a:ext uri="{FF2B5EF4-FFF2-40B4-BE49-F238E27FC236}">
                  <a16:creationId xmlns="" xmlns:a16="http://schemas.microsoft.com/office/drawing/2014/main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308">
              <a:extLst>
                <a:ext uri="{FF2B5EF4-FFF2-40B4-BE49-F238E27FC236}">
                  <a16:creationId xmlns="" xmlns:a16="http://schemas.microsoft.com/office/drawing/2014/main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309">
              <a:extLst>
                <a:ext uri="{FF2B5EF4-FFF2-40B4-BE49-F238E27FC236}">
                  <a16:creationId xmlns="" xmlns:a16="http://schemas.microsoft.com/office/drawing/2014/main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310">
              <a:extLst>
                <a:ext uri="{FF2B5EF4-FFF2-40B4-BE49-F238E27FC236}">
                  <a16:creationId xmlns="" xmlns:a16="http://schemas.microsoft.com/office/drawing/2014/main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11">
              <a:extLst>
                <a:ext uri="{FF2B5EF4-FFF2-40B4-BE49-F238E27FC236}">
                  <a16:creationId xmlns="" xmlns:a16="http://schemas.microsoft.com/office/drawing/2014/main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7062" y="2096599"/>
            <a:ext cx="6858000" cy="2387600"/>
          </a:xfrm>
        </p:spPr>
        <p:txBody>
          <a:bodyPr anchor="b">
            <a:normAutofit/>
          </a:bodyPr>
          <a:lstStyle>
            <a:lvl1pPr marL="0" indent="0" algn="ctr">
              <a:defRPr sz="4000">
                <a:solidFill>
                  <a:schemeClr val="bg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="" xmlns:a16="http://schemas.microsoft.com/office/drawing/2014/main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8557" y="4484331"/>
            <a:ext cx="6858000" cy="47299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7" name="Рисунок 166">
            <a:extLst>
              <a:ext uri="{FF2B5EF4-FFF2-40B4-BE49-F238E27FC236}">
                <a16:creationId xmlns="" xmlns:a16="http://schemas.microsoft.com/office/drawing/2014/main" id="{26E53AF0-5D15-4ECF-B93E-A65CFD4AC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30801" t="3339" r="25426" b="32774"/>
          <a:stretch/>
        </p:blipFill>
        <p:spPr>
          <a:xfrm>
            <a:off x="253663" y="245054"/>
            <a:ext cx="746567" cy="81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732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85A2868C-3D14-41D6-A53D-1B9196AE83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1AC8EE9-D3F5-4096-B0F8-14DA3F66C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07" y="5613"/>
            <a:ext cx="6372547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E27A3B84-4AB3-4F07-A9CA-E750D09152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92" y="1345223"/>
            <a:ext cx="8529824" cy="51444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B229AD3F-E42F-4C5F-B845-838B6ACC6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EDCDDE12-499E-4DFD-AE5C-71C692BA2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2127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344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159">
            <a:extLst>
              <a:ext uri="{FF2B5EF4-FFF2-40B4-BE49-F238E27FC236}">
                <a16:creationId xmlns="" xmlns:a16="http://schemas.microsoft.com/office/drawing/2014/main" id="{1C4E4BC4-F28D-4A12-BD15-3B1186AD33C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80" y="807925"/>
            <a:ext cx="8023844" cy="5547689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25" name="Freeform 160">
              <a:extLst>
                <a:ext uri="{FF2B5EF4-FFF2-40B4-BE49-F238E27FC236}">
                  <a16:creationId xmlns="" xmlns:a16="http://schemas.microsoft.com/office/drawing/2014/main" id="{7B2A40E7-5470-4F6B-A05F-1F1274768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61">
              <a:extLst>
                <a:ext uri="{FF2B5EF4-FFF2-40B4-BE49-F238E27FC236}">
                  <a16:creationId xmlns="" xmlns:a16="http://schemas.microsoft.com/office/drawing/2014/main" id="{D42976BD-CC9A-4748-A5B1-5797482B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62">
              <a:extLst>
                <a:ext uri="{FF2B5EF4-FFF2-40B4-BE49-F238E27FC236}">
                  <a16:creationId xmlns="" xmlns:a16="http://schemas.microsoft.com/office/drawing/2014/main" id="{DA56C2DD-B05A-45BE-9C87-626B7ECA5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63">
              <a:extLst>
                <a:ext uri="{FF2B5EF4-FFF2-40B4-BE49-F238E27FC236}">
                  <a16:creationId xmlns="" xmlns:a16="http://schemas.microsoft.com/office/drawing/2014/main" id="{01EF637A-1ADB-4C72-8F81-66F50E369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64">
              <a:extLst>
                <a:ext uri="{FF2B5EF4-FFF2-40B4-BE49-F238E27FC236}">
                  <a16:creationId xmlns="" xmlns:a16="http://schemas.microsoft.com/office/drawing/2014/main" id="{C6CA93C3-8C32-48BD-A6FD-A55DC7896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65">
              <a:extLst>
                <a:ext uri="{FF2B5EF4-FFF2-40B4-BE49-F238E27FC236}">
                  <a16:creationId xmlns="" xmlns:a16="http://schemas.microsoft.com/office/drawing/2014/main" id="{FC4326DA-6770-4B5D-818C-12A203B82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66">
              <a:extLst>
                <a:ext uri="{FF2B5EF4-FFF2-40B4-BE49-F238E27FC236}">
                  <a16:creationId xmlns="" xmlns:a16="http://schemas.microsoft.com/office/drawing/2014/main" id="{09DE101A-9BD8-4B69-8996-E2CB5BBE4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67">
              <a:extLst>
                <a:ext uri="{FF2B5EF4-FFF2-40B4-BE49-F238E27FC236}">
                  <a16:creationId xmlns="" xmlns:a16="http://schemas.microsoft.com/office/drawing/2014/main" id="{0B193ADC-458C-4438-98D3-469372820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68">
              <a:extLst>
                <a:ext uri="{FF2B5EF4-FFF2-40B4-BE49-F238E27FC236}">
                  <a16:creationId xmlns="" xmlns:a16="http://schemas.microsoft.com/office/drawing/2014/main" id="{7CA4A1EB-6CD9-4BE6-A7EC-CC0547607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69">
              <a:extLst>
                <a:ext uri="{FF2B5EF4-FFF2-40B4-BE49-F238E27FC236}">
                  <a16:creationId xmlns="" xmlns:a16="http://schemas.microsoft.com/office/drawing/2014/main" id="{5A0AEA5E-14CE-4710-A5B5-22E92BF65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70">
              <a:extLst>
                <a:ext uri="{FF2B5EF4-FFF2-40B4-BE49-F238E27FC236}">
                  <a16:creationId xmlns="" xmlns:a16="http://schemas.microsoft.com/office/drawing/2014/main" id="{08DDC510-FAC6-4389-816C-C924DB9C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71">
              <a:extLst>
                <a:ext uri="{FF2B5EF4-FFF2-40B4-BE49-F238E27FC236}">
                  <a16:creationId xmlns="" xmlns:a16="http://schemas.microsoft.com/office/drawing/2014/main" id="{716BB3F2-5719-4051-BA47-78A85CFB2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72">
              <a:extLst>
                <a:ext uri="{FF2B5EF4-FFF2-40B4-BE49-F238E27FC236}">
                  <a16:creationId xmlns="" xmlns:a16="http://schemas.microsoft.com/office/drawing/2014/main" id="{2E8DCB0A-502B-4E5F-B88B-1E946F8BB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73">
              <a:extLst>
                <a:ext uri="{FF2B5EF4-FFF2-40B4-BE49-F238E27FC236}">
                  <a16:creationId xmlns="" xmlns:a16="http://schemas.microsoft.com/office/drawing/2014/main" id="{10059D59-D8C0-48C8-8652-0E70BCF0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174">
              <a:extLst>
                <a:ext uri="{FF2B5EF4-FFF2-40B4-BE49-F238E27FC236}">
                  <a16:creationId xmlns="" xmlns:a16="http://schemas.microsoft.com/office/drawing/2014/main" id="{325A4A10-EABA-4AD2-B448-8BF29D37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175">
              <a:extLst>
                <a:ext uri="{FF2B5EF4-FFF2-40B4-BE49-F238E27FC236}">
                  <a16:creationId xmlns="" xmlns:a16="http://schemas.microsoft.com/office/drawing/2014/main" id="{6D335C25-2B2D-4C0F-859D-E0E5261E4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176">
              <a:extLst>
                <a:ext uri="{FF2B5EF4-FFF2-40B4-BE49-F238E27FC236}">
                  <a16:creationId xmlns="" xmlns:a16="http://schemas.microsoft.com/office/drawing/2014/main" id="{1F9A4326-6AD4-4022-ADB1-301236DF6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177">
              <a:extLst>
                <a:ext uri="{FF2B5EF4-FFF2-40B4-BE49-F238E27FC236}">
                  <a16:creationId xmlns="" xmlns:a16="http://schemas.microsoft.com/office/drawing/2014/main" id="{FDA826EF-F865-4C99-9A81-246151F08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178">
              <a:extLst>
                <a:ext uri="{FF2B5EF4-FFF2-40B4-BE49-F238E27FC236}">
                  <a16:creationId xmlns="" xmlns:a16="http://schemas.microsoft.com/office/drawing/2014/main" id="{F4C8AD7C-54BF-4EC6-961B-9853E98E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179">
              <a:extLst>
                <a:ext uri="{FF2B5EF4-FFF2-40B4-BE49-F238E27FC236}">
                  <a16:creationId xmlns="" xmlns:a16="http://schemas.microsoft.com/office/drawing/2014/main" id="{08AE51A1-855C-46D7-B71C-29951B5BB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180">
              <a:extLst>
                <a:ext uri="{FF2B5EF4-FFF2-40B4-BE49-F238E27FC236}">
                  <a16:creationId xmlns="" xmlns:a16="http://schemas.microsoft.com/office/drawing/2014/main" id="{84403D2D-3B71-4FD7-8D3E-B24814951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181">
              <a:extLst>
                <a:ext uri="{FF2B5EF4-FFF2-40B4-BE49-F238E27FC236}">
                  <a16:creationId xmlns="" xmlns:a16="http://schemas.microsoft.com/office/drawing/2014/main" id="{32014CF5-0274-441D-B192-1A13FC4C0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182">
              <a:extLst>
                <a:ext uri="{FF2B5EF4-FFF2-40B4-BE49-F238E27FC236}">
                  <a16:creationId xmlns="" xmlns:a16="http://schemas.microsoft.com/office/drawing/2014/main" id="{5F69C278-F722-4811-8BC3-1351C379D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83">
              <a:extLst>
                <a:ext uri="{FF2B5EF4-FFF2-40B4-BE49-F238E27FC236}">
                  <a16:creationId xmlns="" xmlns:a16="http://schemas.microsoft.com/office/drawing/2014/main" id="{AF31DCF9-7279-4F79-B897-B4174E83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84">
              <a:extLst>
                <a:ext uri="{FF2B5EF4-FFF2-40B4-BE49-F238E27FC236}">
                  <a16:creationId xmlns="" xmlns:a16="http://schemas.microsoft.com/office/drawing/2014/main" id="{DFDBA841-F71D-4AE4-89F4-CC8EBC7B8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85">
              <a:extLst>
                <a:ext uri="{FF2B5EF4-FFF2-40B4-BE49-F238E27FC236}">
                  <a16:creationId xmlns="" xmlns:a16="http://schemas.microsoft.com/office/drawing/2014/main" id="{23D0385B-92E1-44D1-9A42-BE7EEA34F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86">
              <a:extLst>
                <a:ext uri="{FF2B5EF4-FFF2-40B4-BE49-F238E27FC236}">
                  <a16:creationId xmlns="" xmlns:a16="http://schemas.microsoft.com/office/drawing/2014/main" id="{276D01D4-B6B6-412F-A27E-223FD02CB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87">
              <a:extLst>
                <a:ext uri="{FF2B5EF4-FFF2-40B4-BE49-F238E27FC236}">
                  <a16:creationId xmlns="" xmlns:a16="http://schemas.microsoft.com/office/drawing/2014/main" id="{543A9CBA-3B28-4AE7-9572-B14D118BC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88">
              <a:extLst>
                <a:ext uri="{FF2B5EF4-FFF2-40B4-BE49-F238E27FC236}">
                  <a16:creationId xmlns="" xmlns:a16="http://schemas.microsoft.com/office/drawing/2014/main" id="{D3F9AA10-62FD-4C45-A29E-98CBA928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189">
              <a:extLst>
                <a:ext uri="{FF2B5EF4-FFF2-40B4-BE49-F238E27FC236}">
                  <a16:creationId xmlns="" xmlns:a16="http://schemas.microsoft.com/office/drawing/2014/main" id="{84D22B54-8586-49C0-9B79-71331EF3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190">
              <a:extLst>
                <a:ext uri="{FF2B5EF4-FFF2-40B4-BE49-F238E27FC236}">
                  <a16:creationId xmlns="" xmlns:a16="http://schemas.microsoft.com/office/drawing/2014/main" id="{39DD49BF-A478-499D-9EEF-8E84FA4B5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191">
              <a:extLst>
                <a:ext uri="{FF2B5EF4-FFF2-40B4-BE49-F238E27FC236}">
                  <a16:creationId xmlns="" xmlns:a16="http://schemas.microsoft.com/office/drawing/2014/main" id="{66BBC9AD-64AF-4616-9D5C-421D0162B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192">
              <a:extLst>
                <a:ext uri="{FF2B5EF4-FFF2-40B4-BE49-F238E27FC236}">
                  <a16:creationId xmlns="" xmlns:a16="http://schemas.microsoft.com/office/drawing/2014/main" id="{203E09F9-C8B0-4B2B-91F6-184F4787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193">
              <a:extLst>
                <a:ext uri="{FF2B5EF4-FFF2-40B4-BE49-F238E27FC236}">
                  <a16:creationId xmlns="" xmlns:a16="http://schemas.microsoft.com/office/drawing/2014/main" id="{1D99C397-CD2B-491F-91FD-2248B1243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194">
              <a:extLst>
                <a:ext uri="{FF2B5EF4-FFF2-40B4-BE49-F238E27FC236}">
                  <a16:creationId xmlns="" xmlns:a16="http://schemas.microsoft.com/office/drawing/2014/main" id="{8CB2DBED-B660-47D9-B917-617B81F73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195">
              <a:extLst>
                <a:ext uri="{FF2B5EF4-FFF2-40B4-BE49-F238E27FC236}">
                  <a16:creationId xmlns="" xmlns:a16="http://schemas.microsoft.com/office/drawing/2014/main" id="{779A8706-557E-43D6-A8C6-04EFED4C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196">
              <a:extLst>
                <a:ext uri="{FF2B5EF4-FFF2-40B4-BE49-F238E27FC236}">
                  <a16:creationId xmlns="" xmlns:a16="http://schemas.microsoft.com/office/drawing/2014/main" id="{C933315C-5363-4E88-B30A-AA7906B2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197">
              <a:extLst>
                <a:ext uri="{FF2B5EF4-FFF2-40B4-BE49-F238E27FC236}">
                  <a16:creationId xmlns="" xmlns:a16="http://schemas.microsoft.com/office/drawing/2014/main" id="{C8403E3B-81F2-4B89-9A51-61BC3C9A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198">
              <a:extLst>
                <a:ext uri="{FF2B5EF4-FFF2-40B4-BE49-F238E27FC236}">
                  <a16:creationId xmlns="" xmlns:a16="http://schemas.microsoft.com/office/drawing/2014/main" id="{92A15F8A-E0AC-417B-8366-83041E6C6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199">
              <a:extLst>
                <a:ext uri="{FF2B5EF4-FFF2-40B4-BE49-F238E27FC236}">
                  <a16:creationId xmlns="" xmlns:a16="http://schemas.microsoft.com/office/drawing/2014/main" id="{A9E2A500-5E73-4615-ADEF-70C302D39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200">
              <a:extLst>
                <a:ext uri="{FF2B5EF4-FFF2-40B4-BE49-F238E27FC236}">
                  <a16:creationId xmlns="" xmlns:a16="http://schemas.microsoft.com/office/drawing/2014/main" id="{D1F79074-1A9C-4F1D-A81D-F4C7768A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201">
              <a:extLst>
                <a:ext uri="{FF2B5EF4-FFF2-40B4-BE49-F238E27FC236}">
                  <a16:creationId xmlns="" xmlns:a16="http://schemas.microsoft.com/office/drawing/2014/main" id="{793AF5A5-72EB-4CEE-9206-5E3E22BF6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202">
              <a:extLst>
                <a:ext uri="{FF2B5EF4-FFF2-40B4-BE49-F238E27FC236}">
                  <a16:creationId xmlns="" xmlns:a16="http://schemas.microsoft.com/office/drawing/2014/main" id="{EAD88368-FD7D-4AFF-90E4-7CC00F26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203">
              <a:extLst>
                <a:ext uri="{FF2B5EF4-FFF2-40B4-BE49-F238E27FC236}">
                  <a16:creationId xmlns="" xmlns:a16="http://schemas.microsoft.com/office/drawing/2014/main" id="{B5D86937-C9AA-43A7-BCAA-874B8CEC2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204">
              <a:extLst>
                <a:ext uri="{FF2B5EF4-FFF2-40B4-BE49-F238E27FC236}">
                  <a16:creationId xmlns="" xmlns:a16="http://schemas.microsoft.com/office/drawing/2014/main" id="{D68F6547-44BF-430B-B4E9-05EB9AD32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205">
              <a:extLst>
                <a:ext uri="{FF2B5EF4-FFF2-40B4-BE49-F238E27FC236}">
                  <a16:creationId xmlns="" xmlns:a16="http://schemas.microsoft.com/office/drawing/2014/main" id="{A2B768C2-4970-4431-990E-3BBA0605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206">
              <a:extLst>
                <a:ext uri="{FF2B5EF4-FFF2-40B4-BE49-F238E27FC236}">
                  <a16:creationId xmlns="" xmlns:a16="http://schemas.microsoft.com/office/drawing/2014/main" id="{C98C401F-A679-4E60-821C-7D7595C4D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207">
              <a:extLst>
                <a:ext uri="{FF2B5EF4-FFF2-40B4-BE49-F238E27FC236}">
                  <a16:creationId xmlns="" xmlns:a16="http://schemas.microsoft.com/office/drawing/2014/main" id="{D41EC805-C7F5-415E-B841-A5BFD3757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208">
              <a:extLst>
                <a:ext uri="{FF2B5EF4-FFF2-40B4-BE49-F238E27FC236}">
                  <a16:creationId xmlns="" xmlns:a16="http://schemas.microsoft.com/office/drawing/2014/main" id="{7AB37A9D-C3A9-4BA1-B70E-5AF8498E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209">
              <a:extLst>
                <a:ext uri="{FF2B5EF4-FFF2-40B4-BE49-F238E27FC236}">
                  <a16:creationId xmlns="" xmlns:a16="http://schemas.microsoft.com/office/drawing/2014/main" id="{DC78FEC0-A989-4ED6-9121-DD0F87478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210">
              <a:extLst>
                <a:ext uri="{FF2B5EF4-FFF2-40B4-BE49-F238E27FC236}">
                  <a16:creationId xmlns="" xmlns:a16="http://schemas.microsoft.com/office/drawing/2014/main" id="{120FCE6D-F016-4199-AE4F-4B683272F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211">
              <a:extLst>
                <a:ext uri="{FF2B5EF4-FFF2-40B4-BE49-F238E27FC236}">
                  <a16:creationId xmlns="" xmlns:a16="http://schemas.microsoft.com/office/drawing/2014/main" id="{106DCFDF-6FA3-4D7B-98F2-A77359194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212">
              <a:extLst>
                <a:ext uri="{FF2B5EF4-FFF2-40B4-BE49-F238E27FC236}">
                  <a16:creationId xmlns="" xmlns:a16="http://schemas.microsoft.com/office/drawing/2014/main" id="{CA98F436-AFE5-435F-B818-ECFBB461E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213">
              <a:extLst>
                <a:ext uri="{FF2B5EF4-FFF2-40B4-BE49-F238E27FC236}">
                  <a16:creationId xmlns="" xmlns:a16="http://schemas.microsoft.com/office/drawing/2014/main" id="{C3B2C475-4481-4DBF-96A6-ACD46728E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14">
              <a:extLst>
                <a:ext uri="{FF2B5EF4-FFF2-40B4-BE49-F238E27FC236}">
                  <a16:creationId xmlns="" xmlns:a16="http://schemas.microsoft.com/office/drawing/2014/main" id="{F4157978-4F10-4039-8F5C-B04DCCB21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15">
              <a:extLst>
                <a:ext uri="{FF2B5EF4-FFF2-40B4-BE49-F238E27FC236}">
                  <a16:creationId xmlns="" xmlns:a16="http://schemas.microsoft.com/office/drawing/2014/main" id="{2B76AF29-0BCD-4FA4-B20A-C9C7D6C80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16">
              <a:extLst>
                <a:ext uri="{FF2B5EF4-FFF2-40B4-BE49-F238E27FC236}">
                  <a16:creationId xmlns="" xmlns:a16="http://schemas.microsoft.com/office/drawing/2014/main" id="{2E37AFFC-2342-4BC2-B517-51903DA05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17">
              <a:extLst>
                <a:ext uri="{FF2B5EF4-FFF2-40B4-BE49-F238E27FC236}">
                  <a16:creationId xmlns="" xmlns:a16="http://schemas.microsoft.com/office/drawing/2014/main" id="{EE980631-E49A-46E1-A06C-0C1EDA535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18">
              <a:extLst>
                <a:ext uri="{FF2B5EF4-FFF2-40B4-BE49-F238E27FC236}">
                  <a16:creationId xmlns="" xmlns:a16="http://schemas.microsoft.com/office/drawing/2014/main" id="{1F32A791-2F1D-4739-9DDF-B9080541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19">
              <a:extLst>
                <a:ext uri="{FF2B5EF4-FFF2-40B4-BE49-F238E27FC236}">
                  <a16:creationId xmlns="" xmlns:a16="http://schemas.microsoft.com/office/drawing/2014/main" id="{B54C4180-66D6-4C5A-8C51-CE0E6264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20">
              <a:extLst>
                <a:ext uri="{FF2B5EF4-FFF2-40B4-BE49-F238E27FC236}">
                  <a16:creationId xmlns="" xmlns:a16="http://schemas.microsoft.com/office/drawing/2014/main" id="{08FABF00-6A6C-42E9-82A0-5EE2E46E7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21">
              <a:extLst>
                <a:ext uri="{FF2B5EF4-FFF2-40B4-BE49-F238E27FC236}">
                  <a16:creationId xmlns="" xmlns:a16="http://schemas.microsoft.com/office/drawing/2014/main" id="{D92D32DA-271B-426F-B974-2EFFFAC7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22">
              <a:extLst>
                <a:ext uri="{FF2B5EF4-FFF2-40B4-BE49-F238E27FC236}">
                  <a16:creationId xmlns="" xmlns:a16="http://schemas.microsoft.com/office/drawing/2014/main" id="{3A133D9E-5D15-40E1-B7F6-6C834B8E7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23">
              <a:extLst>
                <a:ext uri="{FF2B5EF4-FFF2-40B4-BE49-F238E27FC236}">
                  <a16:creationId xmlns="" xmlns:a16="http://schemas.microsoft.com/office/drawing/2014/main" id="{4610E05C-0C1F-4E70-B81F-EE781FD71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224">
              <a:extLst>
                <a:ext uri="{FF2B5EF4-FFF2-40B4-BE49-F238E27FC236}">
                  <a16:creationId xmlns="" xmlns:a16="http://schemas.microsoft.com/office/drawing/2014/main" id="{D4E4E916-EF05-48A8-BAF5-40F54243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225">
              <a:extLst>
                <a:ext uri="{FF2B5EF4-FFF2-40B4-BE49-F238E27FC236}">
                  <a16:creationId xmlns="" xmlns:a16="http://schemas.microsoft.com/office/drawing/2014/main" id="{B7A09043-E553-4608-B3D6-CEBBAC59E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226">
              <a:extLst>
                <a:ext uri="{FF2B5EF4-FFF2-40B4-BE49-F238E27FC236}">
                  <a16:creationId xmlns="" xmlns:a16="http://schemas.microsoft.com/office/drawing/2014/main" id="{F61B5A1A-88D2-45A6-9D7F-EBFD9233F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227">
              <a:extLst>
                <a:ext uri="{FF2B5EF4-FFF2-40B4-BE49-F238E27FC236}">
                  <a16:creationId xmlns="" xmlns:a16="http://schemas.microsoft.com/office/drawing/2014/main" id="{635AC68E-917C-42B6-A707-62E927E83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228">
              <a:extLst>
                <a:ext uri="{FF2B5EF4-FFF2-40B4-BE49-F238E27FC236}">
                  <a16:creationId xmlns="" xmlns:a16="http://schemas.microsoft.com/office/drawing/2014/main" id="{03B702DA-B5AD-4B8D-B84D-BE3444C1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229">
              <a:extLst>
                <a:ext uri="{FF2B5EF4-FFF2-40B4-BE49-F238E27FC236}">
                  <a16:creationId xmlns="" xmlns:a16="http://schemas.microsoft.com/office/drawing/2014/main" id="{7036E4D8-BDCA-4CEB-BD85-03DC518F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230">
              <a:extLst>
                <a:ext uri="{FF2B5EF4-FFF2-40B4-BE49-F238E27FC236}">
                  <a16:creationId xmlns="" xmlns:a16="http://schemas.microsoft.com/office/drawing/2014/main" id="{75F6A740-9D8D-47FE-96EE-4C9057CFC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231">
              <a:extLst>
                <a:ext uri="{FF2B5EF4-FFF2-40B4-BE49-F238E27FC236}">
                  <a16:creationId xmlns="" xmlns:a16="http://schemas.microsoft.com/office/drawing/2014/main" id="{6D5C96BE-A3AC-43EC-8E19-7A3AF6366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232">
              <a:extLst>
                <a:ext uri="{FF2B5EF4-FFF2-40B4-BE49-F238E27FC236}">
                  <a16:creationId xmlns="" xmlns:a16="http://schemas.microsoft.com/office/drawing/2014/main" id="{34952CC3-E7D0-48E2-8C40-ACAA6D8E7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233">
              <a:extLst>
                <a:ext uri="{FF2B5EF4-FFF2-40B4-BE49-F238E27FC236}">
                  <a16:creationId xmlns="" xmlns:a16="http://schemas.microsoft.com/office/drawing/2014/main" id="{92D0AA01-D995-442B-AEF6-E80CAB86E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234">
              <a:extLst>
                <a:ext uri="{FF2B5EF4-FFF2-40B4-BE49-F238E27FC236}">
                  <a16:creationId xmlns="" xmlns:a16="http://schemas.microsoft.com/office/drawing/2014/main" id="{E93C7433-24AC-4D7A-8FFD-F655771BD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235">
              <a:extLst>
                <a:ext uri="{FF2B5EF4-FFF2-40B4-BE49-F238E27FC236}">
                  <a16:creationId xmlns="" xmlns:a16="http://schemas.microsoft.com/office/drawing/2014/main" id="{8ABAFBF6-4B17-40FA-B6F0-D576E7BBC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36">
              <a:extLst>
                <a:ext uri="{FF2B5EF4-FFF2-40B4-BE49-F238E27FC236}">
                  <a16:creationId xmlns="" xmlns:a16="http://schemas.microsoft.com/office/drawing/2014/main" id="{E2EB101E-8A00-4D04-92B4-765EC1028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37">
              <a:extLst>
                <a:ext uri="{FF2B5EF4-FFF2-40B4-BE49-F238E27FC236}">
                  <a16:creationId xmlns="" xmlns:a16="http://schemas.microsoft.com/office/drawing/2014/main" id="{3B6F5769-3D46-4693-8662-1E3596037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38">
              <a:extLst>
                <a:ext uri="{FF2B5EF4-FFF2-40B4-BE49-F238E27FC236}">
                  <a16:creationId xmlns="" xmlns:a16="http://schemas.microsoft.com/office/drawing/2014/main" id="{7B91C8D2-3D8C-48F5-9242-4998F128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39">
              <a:extLst>
                <a:ext uri="{FF2B5EF4-FFF2-40B4-BE49-F238E27FC236}">
                  <a16:creationId xmlns="" xmlns:a16="http://schemas.microsoft.com/office/drawing/2014/main" id="{0E60860D-9650-4183-A58C-952DC5A4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240">
              <a:extLst>
                <a:ext uri="{FF2B5EF4-FFF2-40B4-BE49-F238E27FC236}">
                  <a16:creationId xmlns="" xmlns:a16="http://schemas.microsoft.com/office/drawing/2014/main" id="{C87274D1-38A1-4332-85F4-74DF0BE5A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241">
              <a:extLst>
                <a:ext uri="{FF2B5EF4-FFF2-40B4-BE49-F238E27FC236}">
                  <a16:creationId xmlns="" xmlns:a16="http://schemas.microsoft.com/office/drawing/2014/main" id="{F77BE143-C298-42C7-B1E2-218072838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242">
              <a:extLst>
                <a:ext uri="{FF2B5EF4-FFF2-40B4-BE49-F238E27FC236}">
                  <a16:creationId xmlns="" xmlns:a16="http://schemas.microsoft.com/office/drawing/2014/main" id="{6DD5EE05-1085-40A8-98D0-953C0A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243">
              <a:extLst>
                <a:ext uri="{FF2B5EF4-FFF2-40B4-BE49-F238E27FC236}">
                  <a16:creationId xmlns="" xmlns:a16="http://schemas.microsoft.com/office/drawing/2014/main" id="{389E2323-82AE-425D-B533-320840E4A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244">
              <a:extLst>
                <a:ext uri="{FF2B5EF4-FFF2-40B4-BE49-F238E27FC236}">
                  <a16:creationId xmlns="" xmlns:a16="http://schemas.microsoft.com/office/drawing/2014/main" id="{3CBE9EED-624F-4045-B820-D367894C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245">
              <a:extLst>
                <a:ext uri="{FF2B5EF4-FFF2-40B4-BE49-F238E27FC236}">
                  <a16:creationId xmlns="" xmlns:a16="http://schemas.microsoft.com/office/drawing/2014/main" id="{3FBFC899-73DA-480C-8389-5026D883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246">
              <a:extLst>
                <a:ext uri="{FF2B5EF4-FFF2-40B4-BE49-F238E27FC236}">
                  <a16:creationId xmlns="" xmlns:a16="http://schemas.microsoft.com/office/drawing/2014/main" id="{2FBE6487-CE2B-4D40-8B44-145BCA2B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247">
              <a:extLst>
                <a:ext uri="{FF2B5EF4-FFF2-40B4-BE49-F238E27FC236}">
                  <a16:creationId xmlns="" xmlns:a16="http://schemas.microsoft.com/office/drawing/2014/main" id="{9C08FDA1-0404-4DCF-ABB3-631092F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248">
              <a:extLst>
                <a:ext uri="{FF2B5EF4-FFF2-40B4-BE49-F238E27FC236}">
                  <a16:creationId xmlns="" xmlns:a16="http://schemas.microsoft.com/office/drawing/2014/main" id="{01CEC87F-50FB-47FD-8018-CE169065D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249">
              <a:extLst>
                <a:ext uri="{FF2B5EF4-FFF2-40B4-BE49-F238E27FC236}">
                  <a16:creationId xmlns="" xmlns:a16="http://schemas.microsoft.com/office/drawing/2014/main" id="{37464C81-F96E-4CBB-B8FC-0FB9B90DC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250">
              <a:extLst>
                <a:ext uri="{FF2B5EF4-FFF2-40B4-BE49-F238E27FC236}">
                  <a16:creationId xmlns="" xmlns:a16="http://schemas.microsoft.com/office/drawing/2014/main" id="{6F88266F-7D43-45C1-BAD9-A847286E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251">
              <a:extLst>
                <a:ext uri="{FF2B5EF4-FFF2-40B4-BE49-F238E27FC236}">
                  <a16:creationId xmlns="" xmlns:a16="http://schemas.microsoft.com/office/drawing/2014/main" id="{B036BB79-0E8A-44D0-8C39-BC006EF5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252">
              <a:extLst>
                <a:ext uri="{FF2B5EF4-FFF2-40B4-BE49-F238E27FC236}">
                  <a16:creationId xmlns="" xmlns:a16="http://schemas.microsoft.com/office/drawing/2014/main" id="{660C4EEC-C382-42CF-9945-806772100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253">
              <a:extLst>
                <a:ext uri="{FF2B5EF4-FFF2-40B4-BE49-F238E27FC236}">
                  <a16:creationId xmlns="" xmlns:a16="http://schemas.microsoft.com/office/drawing/2014/main" id="{481F7C22-1C43-4814-AFAE-59E427A1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254">
              <a:extLst>
                <a:ext uri="{FF2B5EF4-FFF2-40B4-BE49-F238E27FC236}">
                  <a16:creationId xmlns="" xmlns:a16="http://schemas.microsoft.com/office/drawing/2014/main" id="{1B7F01BF-8EBD-440E-9769-E60D0475C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255">
              <a:extLst>
                <a:ext uri="{FF2B5EF4-FFF2-40B4-BE49-F238E27FC236}">
                  <a16:creationId xmlns="" xmlns:a16="http://schemas.microsoft.com/office/drawing/2014/main" id="{7AC66020-78FB-4667-898C-3ACC541FB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256">
              <a:extLst>
                <a:ext uri="{FF2B5EF4-FFF2-40B4-BE49-F238E27FC236}">
                  <a16:creationId xmlns="" xmlns:a16="http://schemas.microsoft.com/office/drawing/2014/main" id="{D547E9C3-09F2-441D-9770-BA4BFD08D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257">
              <a:extLst>
                <a:ext uri="{FF2B5EF4-FFF2-40B4-BE49-F238E27FC236}">
                  <a16:creationId xmlns="" xmlns:a16="http://schemas.microsoft.com/office/drawing/2014/main" id="{8B93E839-EAF0-48DA-BD16-B10DB9376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258">
              <a:extLst>
                <a:ext uri="{FF2B5EF4-FFF2-40B4-BE49-F238E27FC236}">
                  <a16:creationId xmlns="" xmlns:a16="http://schemas.microsoft.com/office/drawing/2014/main" id="{F09EF3A3-D244-4CA0-8CCD-D3C97736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259">
              <a:extLst>
                <a:ext uri="{FF2B5EF4-FFF2-40B4-BE49-F238E27FC236}">
                  <a16:creationId xmlns="" xmlns:a16="http://schemas.microsoft.com/office/drawing/2014/main" id="{0595E96F-5D77-4F85-BDB5-42BF7C66E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260">
              <a:extLst>
                <a:ext uri="{FF2B5EF4-FFF2-40B4-BE49-F238E27FC236}">
                  <a16:creationId xmlns="" xmlns:a16="http://schemas.microsoft.com/office/drawing/2014/main" id="{7ABE1C38-E74A-42F9-9391-347FF101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261">
              <a:extLst>
                <a:ext uri="{FF2B5EF4-FFF2-40B4-BE49-F238E27FC236}">
                  <a16:creationId xmlns="" xmlns:a16="http://schemas.microsoft.com/office/drawing/2014/main" id="{9B2A1389-FAA4-4081-830D-343343F6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262">
              <a:extLst>
                <a:ext uri="{FF2B5EF4-FFF2-40B4-BE49-F238E27FC236}">
                  <a16:creationId xmlns="" xmlns:a16="http://schemas.microsoft.com/office/drawing/2014/main" id="{D848E739-550D-4C45-9826-3D20C90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263">
              <a:extLst>
                <a:ext uri="{FF2B5EF4-FFF2-40B4-BE49-F238E27FC236}">
                  <a16:creationId xmlns="" xmlns:a16="http://schemas.microsoft.com/office/drawing/2014/main" id="{64C37B5D-DE20-425B-866D-03547176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264">
              <a:extLst>
                <a:ext uri="{FF2B5EF4-FFF2-40B4-BE49-F238E27FC236}">
                  <a16:creationId xmlns="" xmlns:a16="http://schemas.microsoft.com/office/drawing/2014/main" id="{BC94FF77-6B25-4D0C-AF5B-B241DC01B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265">
              <a:extLst>
                <a:ext uri="{FF2B5EF4-FFF2-40B4-BE49-F238E27FC236}">
                  <a16:creationId xmlns="" xmlns:a16="http://schemas.microsoft.com/office/drawing/2014/main" id="{4525436E-97EE-4170-820F-D55EFA6C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266">
              <a:extLst>
                <a:ext uri="{FF2B5EF4-FFF2-40B4-BE49-F238E27FC236}">
                  <a16:creationId xmlns="" xmlns:a16="http://schemas.microsoft.com/office/drawing/2014/main" id="{8429B9EC-8136-4F5B-A350-9C9CB18F7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267">
              <a:extLst>
                <a:ext uri="{FF2B5EF4-FFF2-40B4-BE49-F238E27FC236}">
                  <a16:creationId xmlns="" xmlns:a16="http://schemas.microsoft.com/office/drawing/2014/main" id="{12646761-8264-4F15-928F-399B46951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268">
              <a:extLst>
                <a:ext uri="{FF2B5EF4-FFF2-40B4-BE49-F238E27FC236}">
                  <a16:creationId xmlns="" xmlns:a16="http://schemas.microsoft.com/office/drawing/2014/main" id="{CBE8206F-0D9C-44C4-A809-5F50B956A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269">
              <a:extLst>
                <a:ext uri="{FF2B5EF4-FFF2-40B4-BE49-F238E27FC236}">
                  <a16:creationId xmlns="" xmlns:a16="http://schemas.microsoft.com/office/drawing/2014/main" id="{58E4CB54-10E1-4F67-8585-4D12A24D0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270">
              <a:extLst>
                <a:ext uri="{FF2B5EF4-FFF2-40B4-BE49-F238E27FC236}">
                  <a16:creationId xmlns="" xmlns:a16="http://schemas.microsoft.com/office/drawing/2014/main" id="{10A58289-96EE-406C-901F-127193CD0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271">
              <a:extLst>
                <a:ext uri="{FF2B5EF4-FFF2-40B4-BE49-F238E27FC236}">
                  <a16:creationId xmlns="" xmlns:a16="http://schemas.microsoft.com/office/drawing/2014/main" id="{61A03534-EF7A-4527-A19C-3283D96CF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272">
              <a:extLst>
                <a:ext uri="{FF2B5EF4-FFF2-40B4-BE49-F238E27FC236}">
                  <a16:creationId xmlns="" xmlns:a16="http://schemas.microsoft.com/office/drawing/2014/main" id="{B955686E-AB38-4A86-86B4-2235FEF5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73">
              <a:extLst>
                <a:ext uri="{FF2B5EF4-FFF2-40B4-BE49-F238E27FC236}">
                  <a16:creationId xmlns="" xmlns:a16="http://schemas.microsoft.com/office/drawing/2014/main" id="{47F50786-B68E-4BB0-9449-665B4BCBF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74">
              <a:extLst>
                <a:ext uri="{FF2B5EF4-FFF2-40B4-BE49-F238E27FC236}">
                  <a16:creationId xmlns="" xmlns:a16="http://schemas.microsoft.com/office/drawing/2014/main" id="{AB26286B-8A2B-4ED9-8B7B-3E72CA5E9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75">
              <a:extLst>
                <a:ext uri="{FF2B5EF4-FFF2-40B4-BE49-F238E27FC236}">
                  <a16:creationId xmlns="" xmlns:a16="http://schemas.microsoft.com/office/drawing/2014/main" id="{50601D3E-FD7F-4941-A5B0-DB159386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76">
              <a:extLst>
                <a:ext uri="{FF2B5EF4-FFF2-40B4-BE49-F238E27FC236}">
                  <a16:creationId xmlns="" xmlns:a16="http://schemas.microsoft.com/office/drawing/2014/main" id="{DB2DBBFE-7200-4841-9048-84716CBEA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77">
              <a:extLst>
                <a:ext uri="{FF2B5EF4-FFF2-40B4-BE49-F238E27FC236}">
                  <a16:creationId xmlns="" xmlns:a16="http://schemas.microsoft.com/office/drawing/2014/main" id="{DEA48408-8FA3-4CE1-9BE7-3794F0EF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78">
              <a:extLst>
                <a:ext uri="{FF2B5EF4-FFF2-40B4-BE49-F238E27FC236}">
                  <a16:creationId xmlns="" xmlns:a16="http://schemas.microsoft.com/office/drawing/2014/main" id="{D8DA679D-C340-487D-9963-7315CBD8E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79">
              <a:extLst>
                <a:ext uri="{FF2B5EF4-FFF2-40B4-BE49-F238E27FC236}">
                  <a16:creationId xmlns="" xmlns:a16="http://schemas.microsoft.com/office/drawing/2014/main" id="{1A9B49D5-3E81-479A-A988-5F5BD7AF0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80">
              <a:extLst>
                <a:ext uri="{FF2B5EF4-FFF2-40B4-BE49-F238E27FC236}">
                  <a16:creationId xmlns="" xmlns:a16="http://schemas.microsoft.com/office/drawing/2014/main" id="{F9FB1FD6-B4B0-4990-AE40-A08DBB5C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81">
              <a:extLst>
                <a:ext uri="{FF2B5EF4-FFF2-40B4-BE49-F238E27FC236}">
                  <a16:creationId xmlns="" xmlns:a16="http://schemas.microsoft.com/office/drawing/2014/main" id="{237C8A45-4B10-4B4C-BE5D-5C689649B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82">
              <a:extLst>
                <a:ext uri="{FF2B5EF4-FFF2-40B4-BE49-F238E27FC236}">
                  <a16:creationId xmlns="" xmlns:a16="http://schemas.microsoft.com/office/drawing/2014/main" id="{53B0A901-2D01-491F-AB15-72C21550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83">
              <a:extLst>
                <a:ext uri="{FF2B5EF4-FFF2-40B4-BE49-F238E27FC236}">
                  <a16:creationId xmlns="" xmlns:a16="http://schemas.microsoft.com/office/drawing/2014/main" id="{CEB56BDA-251F-4F2E-A3AD-71EC00CFA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84">
              <a:extLst>
                <a:ext uri="{FF2B5EF4-FFF2-40B4-BE49-F238E27FC236}">
                  <a16:creationId xmlns="" xmlns:a16="http://schemas.microsoft.com/office/drawing/2014/main" id="{54D286F9-4BC2-469D-97F3-16C92617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85">
              <a:extLst>
                <a:ext uri="{FF2B5EF4-FFF2-40B4-BE49-F238E27FC236}">
                  <a16:creationId xmlns="" xmlns:a16="http://schemas.microsoft.com/office/drawing/2014/main" id="{9D06A158-618B-4654-88DC-174A6420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86">
              <a:extLst>
                <a:ext uri="{FF2B5EF4-FFF2-40B4-BE49-F238E27FC236}">
                  <a16:creationId xmlns="" xmlns:a16="http://schemas.microsoft.com/office/drawing/2014/main" id="{75BAF2B6-D4A0-4943-80D4-3A373199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87">
              <a:extLst>
                <a:ext uri="{FF2B5EF4-FFF2-40B4-BE49-F238E27FC236}">
                  <a16:creationId xmlns="" xmlns:a16="http://schemas.microsoft.com/office/drawing/2014/main" id="{B9D16377-9653-4BF6-A95F-1019F660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88">
              <a:extLst>
                <a:ext uri="{FF2B5EF4-FFF2-40B4-BE49-F238E27FC236}">
                  <a16:creationId xmlns="" xmlns:a16="http://schemas.microsoft.com/office/drawing/2014/main" id="{E3BDE59C-7949-4392-98CA-2BF83900C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289">
              <a:extLst>
                <a:ext uri="{FF2B5EF4-FFF2-40B4-BE49-F238E27FC236}">
                  <a16:creationId xmlns="" xmlns:a16="http://schemas.microsoft.com/office/drawing/2014/main" id="{54BBE54D-F55F-4D0F-9514-1D3E268B7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290">
              <a:extLst>
                <a:ext uri="{FF2B5EF4-FFF2-40B4-BE49-F238E27FC236}">
                  <a16:creationId xmlns="" xmlns:a16="http://schemas.microsoft.com/office/drawing/2014/main" id="{F984950E-1EC7-4499-AF19-2B7F7C08B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291">
              <a:extLst>
                <a:ext uri="{FF2B5EF4-FFF2-40B4-BE49-F238E27FC236}">
                  <a16:creationId xmlns="" xmlns:a16="http://schemas.microsoft.com/office/drawing/2014/main" id="{682E35D5-CD91-4979-95E1-368252D11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292">
              <a:extLst>
                <a:ext uri="{FF2B5EF4-FFF2-40B4-BE49-F238E27FC236}">
                  <a16:creationId xmlns="" xmlns:a16="http://schemas.microsoft.com/office/drawing/2014/main" id="{B589BB1C-76B2-4A7C-A584-4286EE984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293">
              <a:extLst>
                <a:ext uri="{FF2B5EF4-FFF2-40B4-BE49-F238E27FC236}">
                  <a16:creationId xmlns="" xmlns:a16="http://schemas.microsoft.com/office/drawing/2014/main" id="{BAF0FE5B-FD14-477A-90AD-7A9FFCA62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294">
              <a:extLst>
                <a:ext uri="{FF2B5EF4-FFF2-40B4-BE49-F238E27FC236}">
                  <a16:creationId xmlns="" xmlns:a16="http://schemas.microsoft.com/office/drawing/2014/main" id="{8EBF290C-D4D1-4677-8ED3-4DC293064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295">
              <a:extLst>
                <a:ext uri="{FF2B5EF4-FFF2-40B4-BE49-F238E27FC236}">
                  <a16:creationId xmlns="" xmlns:a16="http://schemas.microsoft.com/office/drawing/2014/main" id="{8D86FCD3-D0F3-467B-9693-4E51A38A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296">
              <a:extLst>
                <a:ext uri="{FF2B5EF4-FFF2-40B4-BE49-F238E27FC236}">
                  <a16:creationId xmlns="" xmlns:a16="http://schemas.microsoft.com/office/drawing/2014/main" id="{1E4CD347-F031-49FC-BB09-FE85AA4EC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297">
              <a:extLst>
                <a:ext uri="{FF2B5EF4-FFF2-40B4-BE49-F238E27FC236}">
                  <a16:creationId xmlns="" xmlns:a16="http://schemas.microsoft.com/office/drawing/2014/main" id="{9D914BA8-DBC6-48DF-B63F-98AAEE3EF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298">
              <a:extLst>
                <a:ext uri="{FF2B5EF4-FFF2-40B4-BE49-F238E27FC236}">
                  <a16:creationId xmlns="" xmlns:a16="http://schemas.microsoft.com/office/drawing/2014/main" id="{4EE051D5-42A2-4CF0-ACA9-4FD8EFC9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299">
              <a:extLst>
                <a:ext uri="{FF2B5EF4-FFF2-40B4-BE49-F238E27FC236}">
                  <a16:creationId xmlns="" xmlns:a16="http://schemas.microsoft.com/office/drawing/2014/main" id="{7C8F7678-A385-47F1-8FF2-33A0B201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300">
              <a:extLst>
                <a:ext uri="{FF2B5EF4-FFF2-40B4-BE49-F238E27FC236}">
                  <a16:creationId xmlns="" xmlns:a16="http://schemas.microsoft.com/office/drawing/2014/main" id="{E4E9345C-3636-444A-A41D-46F2462E7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301">
              <a:extLst>
                <a:ext uri="{FF2B5EF4-FFF2-40B4-BE49-F238E27FC236}">
                  <a16:creationId xmlns="" xmlns:a16="http://schemas.microsoft.com/office/drawing/2014/main" id="{D341D1E8-C542-4759-8DC1-D6C8C961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302">
              <a:extLst>
                <a:ext uri="{FF2B5EF4-FFF2-40B4-BE49-F238E27FC236}">
                  <a16:creationId xmlns="" xmlns:a16="http://schemas.microsoft.com/office/drawing/2014/main" id="{5ED4D17C-4FA0-4471-A57A-98742C960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303">
              <a:extLst>
                <a:ext uri="{FF2B5EF4-FFF2-40B4-BE49-F238E27FC236}">
                  <a16:creationId xmlns="" xmlns:a16="http://schemas.microsoft.com/office/drawing/2014/main" id="{D8848A0D-1FD6-4CD7-B8DE-FC8CA5390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304">
              <a:extLst>
                <a:ext uri="{FF2B5EF4-FFF2-40B4-BE49-F238E27FC236}">
                  <a16:creationId xmlns="" xmlns:a16="http://schemas.microsoft.com/office/drawing/2014/main" id="{6C469161-835B-4084-88F8-464F4765F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305">
              <a:extLst>
                <a:ext uri="{FF2B5EF4-FFF2-40B4-BE49-F238E27FC236}">
                  <a16:creationId xmlns="" xmlns:a16="http://schemas.microsoft.com/office/drawing/2014/main" id="{3316D6A5-7FCD-4C04-8A71-26B9F96DC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306">
              <a:extLst>
                <a:ext uri="{FF2B5EF4-FFF2-40B4-BE49-F238E27FC236}">
                  <a16:creationId xmlns="" xmlns:a16="http://schemas.microsoft.com/office/drawing/2014/main" id="{49BC393B-CF4F-4F83-82F1-58A65A33E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307">
              <a:extLst>
                <a:ext uri="{FF2B5EF4-FFF2-40B4-BE49-F238E27FC236}">
                  <a16:creationId xmlns="" xmlns:a16="http://schemas.microsoft.com/office/drawing/2014/main" id="{0AA2F89A-DB9C-46C6-B05B-0C5729FD2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308">
              <a:extLst>
                <a:ext uri="{FF2B5EF4-FFF2-40B4-BE49-F238E27FC236}">
                  <a16:creationId xmlns="" xmlns:a16="http://schemas.microsoft.com/office/drawing/2014/main" id="{24D18982-FB11-4213-B515-CB81FCA5A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309">
              <a:extLst>
                <a:ext uri="{FF2B5EF4-FFF2-40B4-BE49-F238E27FC236}">
                  <a16:creationId xmlns="" xmlns:a16="http://schemas.microsoft.com/office/drawing/2014/main" id="{42DD06E9-F496-40A2-BAB4-7757D42FC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310">
              <a:extLst>
                <a:ext uri="{FF2B5EF4-FFF2-40B4-BE49-F238E27FC236}">
                  <a16:creationId xmlns="" xmlns:a16="http://schemas.microsoft.com/office/drawing/2014/main" id="{D853D283-73D2-462A-8137-A3BEAC89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311">
              <a:extLst>
                <a:ext uri="{FF2B5EF4-FFF2-40B4-BE49-F238E27FC236}">
                  <a16:creationId xmlns="" xmlns:a16="http://schemas.microsoft.com/office/drawing/2014/main" id="{70053A94-8BCB-42FC-A587-EDB3FAF1E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29A4775-F6E6-4051-9781-45E42ED372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3429000"/>
            <a:ext cx="5789130" cy="1415494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Заголовок раздел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21B1D1A8-80F9-4954-9CBD-B5316FC02216}"/>
              </a:ext>
            </a:extLst>
          </p:cNvPr>
          <p:cNvCxnSpPr>
            <a:cxnSpLocks/>
          </p:cNvCxnSpPr>
          <p:nvPr userDrawn="1"/>
        </p:nvCxnSpPr>
        <p:spPr>
          <a:xfrm>
            <a:off x="373261" y="3383368"/>
            <a:ext cx="112808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Текст 177">
            <a:extLst>
              <a:ext uri="{FF2B5EF4-FFF2-40B4-BE49-F238E27FC236}">
                <a16:creationId xmlns="" xmlns:a16="http://schemas.microsoft.com/office/drawing/2014/main" id="{DEB692A3-6B76-4ACB-AE39-F71E217A5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296" y="2541276"/>
            <a:ext cx="1111643" cy="804524"/>
          </a:xfrm>
        </p:spPr>
        <p:txBody>
          <a:bodyPr anchor="b" anchorCtr="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81" name="Рисунок 180">
            <a:extLst>
              <a:ext uri="{FF2B5EF4-FFF2-40B4-BE49-F238E27FC236}">
                <a16:creationId xmlns="" xmlns:a16="http://schemas.microsoft.com/office/drawing/2014/main" id="{508140DD-66A9-4943-9D34-FDF436084E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3751" t="93600" b="3600"/>
          <a:stretch/>
        </p:blipFill>
        <p:spPr>
          <a:xfrm rot="16200000" flipH="1" flipV="1">
            <a:off x="5637528" y="3351516"/>
            <a:ext cx="6857999" cy="154976"/>
          </a:xfrm>
          <a:prstGeom prst="rect">
            <a:avLst/>
          </a:prstGeom>
          <a:ln>
            <a:noFill/>
          </a:ln>
        </p:spPr>
      </p:pic>
      <p:pic>
        <p:nvPicPr>
          <p:cNvPr id="177" name="Рисунок 176">
            <a:extLst>
              <a:ext uri="{FF2B5EF4-FFF2-40B4-BE49-F238E27FC236}">
                <a16:creationId xmlns="" xmlns:a16="http://schemas.microsoft.com/office/drawing/2014/main" id="{4632A224-FF0A-479F-ABF5-7C7FB8D53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14228"/>
          <a:stretch/>
        </p:blipFill>
        <p:spPr>
          <a:xfrm>
            <a:off x="260446" y="255679"/>
            <a:ext cx="746567" cy="105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92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CF7CF143-63DE-423F-AEAD-8174F2B65A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5008E69-A4D5-431D-981D-8E31E69EB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6607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="" xmlns:a16="http://schemas.microsoft.com/office/drawing/2014/main" id="{692617C8-D96F-485F-A989-9306B914F1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466" y="5001126"/>
            <a:ext cx="8521559" cy="3503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rgbClr val="005AA3"/>
                </a:solidFill>
              </a:defRPr>
            </a:lvl1pPr>
          </a:lstStyle>
          <a:p>
            <a:pPr lvl="0"/>
            <a:r>
              <a:rPr lang="ru-RU" dirty="0"/>
              <a:t>Вывод/примечание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="" xmlns:a16="http://schemas.microsoft.com/office/drawing/2014/main" id="{E10E80F1-BD81-42A8-98B7-5166948C9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3477DBA2-3573-4345-B40B-21FD7BDA05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6706" y="5362238"/>
            <a:ext cx="8521304" cy="11274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F9F1D5E-E35F-4EA1-8C8B-FDECD70CDE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0337" y="1537124"/>
            <a:ext cx="6703326" cy="26493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5EED4286-F8E5-49CE-BB3A-BC7D2CE71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917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77778695-FD75-4E7A-B0A3-EEB9B1ABCB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4D92B0B9-A0DC-4565-BA88-51940A01FBC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5992" y="1273764"/>
            <a:ext cx="4192190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Проблемы/Задач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66E2C53B-C489-4E2C-A5BA-38D400D29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2590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3">
                  <a:lumMod val="75000"/>
                </a:schemeClr>
              </a:buClr>
              <a:defRPr sz="1200"/>
            </a:lvl1pPr>
            <a:lvl2pPr>
              <a:buClr>
                <a:schemeClr val="accent3">
                  <a:lumMod val="75000"/>
                </a:schemeClr>
              </a:buClr>
              <a:defRPr sz="1200"/>
            </a:lvl2pPr>
            <a:lvl3pPr>
              <a:buClr>
                <a:schemeClr val="accent3">
                  <a:lumMod val="75000"/>
                </a:schemeClr>
              </a:buClr>
              <a:defRPr sz="1200"/>
            </a:lvl3pPr>
            <a:lvl4pPr>
              <a:buClr>
                <a:schemeClr val="accent3">
                  <a:lumMod val="75000"/>
                </a:schemeClr>
              </a:buClr>
              <a:defRPr sz="1200"/>
            </a:lvl4pPr>
            <a:lvl5pPr>
              <a:buClr>
                <a:schemeClr val="accent3">
                  <a:lumMod val="75000"/>
                </a:schemeClr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F516D273-F81E-46B4-8AF2-E5018CBFBCC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4458" y="1273764"/>
            <a:ext cx="4193567" cy="823912"/>
          </a:xfrm>
        </p:spPr>
        <p:txBody>
          <a:bodyPr anchor="b">
            <a:normAutofit/>
          </a:bodyPr>
          <a:lstStyle>
            <a:lvl1pPr marL="53340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Решения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E29C019B-0578-4DF5-A8ED-EAAAD4DE3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38252" y="2183156"/>
            <a:ext cx="3805592" cy="4306575"/>
          </a:xfrm>
        </p:spPr>
        <p:txBody>
          <a:bodyPr>
            <a:normAutofit/>
          </a:bodyPr>
          <a:lstStyle>
            <a:lvl1pPr>
              <a:buClr>
                <a:schemeClr val="accent4"/>
              </a:buClr>
              <a:defRPr sz="1200"/>
            </a:lvl1pPr>
            <a:lvl2pPr>
              <a:buClr>
                <a:schemeClr val="accent4"/>
              </a:buClr>
              <a:defRPr sz="1200"/>
            </a:lvl2pPr>
            <a:lvl3pPr>
              <a:buClr>
                <a:schemeClr val="accent4"/>
              </a:buClr>
              <a:defRPr sz="1200"/>
            </a:lvl3pPr>
            <a:lvl4pPr>
              <a:buClr>
                <a:schemeClr val="accent4"/>
              </a:buClr>
              <a:defRPr sz="1200"/>
            </a:lvl4pPr>
            <a:lvl5pPr>
              <a:buClr>
                <a:schemeClr val="accent4"/>
              </a:buCl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="" xmlns:a16="http://schemas.microsoft.com/office/drawing/2014/main" id="{4346E601-1C3A-4DE8-8CC4-3D2D17486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3F5CD5BD-DE2C-4D54-95D6-4A362509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34615"/>
            <a:ext cx="6405885" cy="757181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CE51335C-E755-4E60-8A40-7F162F29A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6685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CF737C8E-1394-4892-812B-D45FCB306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6651463"/>
            <a:ext cx="9144000" cy="206634"/>
          </a:xfrm>
          <a:prstGeom prst="rect">
            <a:avLst/>
          </a:prstGeom>
          <a:ln>
            <a:noFill/>
          </a:ln>
        </p:spPr>
      </p:pic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4DD2327-0ADE-42BD-87A5-AB28B3B83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810695"/>
            <a:ext cx="4629150" cy="4050357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200"/>
            </a:lvl1pPr>
            <a:lvl2pPr>
              <a:buClr>
                <a:schemeClr val="bg2"/>
              </a:buClr>
              <a:defRPr sz="1200"/>
            </a:lvl2pPr>
            <a:lvl3pPr>
              <a:buClr>
                <a:schemeClr val="bg2"/>
              </a:buClr>
              <a:defRPr sz="1200"/>
            </a:lvl3pPr>
            <a:lvl4pPr>
              <a:buClr>
                <a:schemeClr val="bg2"/>
              </a:buClr>
              <a:defRPr sz="1200"/>
            </a:lvl4pPr>
            <a:lvl5pPr>
              <a:buClr>
                <a:schemeClr val="bg2"/>
              </a:buCl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DD3393A3-6567-4EA4-8207-85262113A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1" y="1810701"/>
            <a:ext cx="3273028" cy="405829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ABB6EA94-75E4-46E4-8A96-4600336F2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AD67C85F-6C73-4336-8AA2-AA2E8A432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63043"/>
            <a:ext cx="6372546" cy="722475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="" xmlns:a16="http://schemas.microsoft.com/office/drawing/2014/main" id="{84D69547-9235-4717-8701-8794F48AE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9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="" xmlns:a16="http://schemas.microsoft.com/office/drawing/2014/main" id="{DA4ED758-1F68-422D-AE33-498C82BB4F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87391" y="1317363"/>
            <a:ext cx="3273028" cy="493330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BC090BE7-58F0-4CD8-B442-895A8D1E8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39" y="148835"/>
            <a:ext cx="569341" cy="62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4297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CE9A2B9D-22EB-4686-846F-33309114A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6193702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Слайд think-cell" r:id="rId17" imgW="532" imgH="530" progId="TCLayout.ActiveDocument.1">
                  <p:embed/>
                </p:oleObj>
              </mc:Choice>
              <mc:Fallback>
                <p:oleObj name="Слайд think-cell" r:id="rId17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90E2C84-6BA9-4610-BD40-42AFE446C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BB55CDB1-CDA5-4837-A794-1C4782C2B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1657F28-66FE-4EDF-9F60-0699934D0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56604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340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3">
            <a:extLst>
              <a:ext uri="{FF2B5EF4-FFF2-40B4-BE49-F238E27FC236}">
                <a16:creationId xmlns="" xmlns:a16="http://schemas.microsoft.com/office/drawing/2014/main" id="{75AC80D8-E868-F517-E9E7-80ECA8615D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21078"/>
              </p:ext>
            </p:extLst>
          </p:nvPr>
        </p:nvGraphicFramePr>
        <p:xfrm>
          <a:off x="123328" y="1196753"/>
          <a:ext cx="8831837" cy="56166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05890">
                  <a:extLst>
                    <a:ext uri="{9D8B030D-6E8A-4147-A177-3AD203B41FA5}">
                      <a16:colId xmlns="" xmlns:a16="http://schemas.microsoft.com/office/drawing/2014/main" val="2715691065"/>
                    </a:ext>
                  </a:extLst>
                </a:gridCol>
                <a:gridCol w="7425947">
                  <a:extLst>
                    <a:ext uri="{9D8B030D-6E8A-4147-A177-3AD203B41FA5}">
                      <a16:colId xmlns="" xmlns:a16="http://schemas.microsoft.com/office/drawing/2014/main" val="754003794"/>
                    </a:ext>
                  </a:extLst>
                </a:gridCol>
              </a:tblGrid>
              <a:tr h="1656183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="" xmlns:a16="http://schemas.microsoft.com/office/drawing/2014/main" val="1434265987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="" xmlns:a16="http://schemas.microsoft.com/office/drawing/2014/main" val="2193908023"/>
                  </a:ext>
                </a:extLst>
              </a:tr>
              <a:tr h="1512168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="" xmlns:a16="http://schemas.microsoft.com/office/drawing/2014/main" val="927561635"/>
                  </a:ext>
                </a:extLst>
              </a:tr>
              <a:tr h="1584176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="" xmlns:a16="http://schemas.microsoft.com/office/drawing/2014/main" val="4145931305"/>
                  </a:ext>
                </a:extLst>
              </a:tr>
            </a:tbl>
          </a:graphicData>
        </a:graphic>
      </p:graphicFrame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4AA797F5-DF60-45A1-B813-30EAB6B76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6" name="Слайд think-cell" r:id="rId4" imgW="532" imgH="530" progId="TCLayout.ActiveDocument.1">
                  <p:embed/>
                </p:oleObj>
              </mc:Choice>
              <mc:Fallback>
                <p:oleObj name="Слайд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="" xmlns:a16="http://schemas.microsoft.com/office/drawing/2014/main" id="{AAA89A31-AE99-4E94-922F-C0FAC6FBF7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2684" y="134938"/>
            <a:ext cx="8841804" cy="1133822"/>
          </a:xfrm>
        </p:spPr>
        <p:txBody>
          <a:bodyPr vert="horz">
            <a:noAutofit/>
          </a:bodyPr>
          <a:lstStyle/>
          <a:p>
            <a:pPr algn="ctr"/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6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ной (частичной) компенсации стоимости путевок в организации отдыха детей и их оздоровления сезонного действия и круглогодичного действия, санаторно-оздоровительные лагеря круглогодичного действия и санатории для детей, расположенные на территории Российской </a:t>
            </a:r>
            <a:r>
              <a:rPr lang="ru-RU" sz="160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ции» детям, участников СВО</a:t>
            </a:r>
            <a:endParaRPr lang="ru-RU" sz="16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Номер слайда 3">
            <a:extLst>
              <a:ext uri="{FF2B5EF4-FFF2-40B4-BE49-F238E27FC236}">
                <a16:creationId xmlns="" xmlns:a16="http://schemas.microsoft.com/office/drawing/2014/main" id="{EA9CC659-5372-4426-82F8-87DEF66B91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6565933"/>
            <a:ext cx="2057400" cy="365125"/>
          </a:xfrm>
        </p:spPr>
        <p:txBody>
          <a:bodyPr/>
          <a:lstStyle/>
          <a:p>
            <a:fld id="{EBA60C36-6C0B-4825-AF9C-32A916E7E83D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7A158E9B-DF04-4979-82BE-9C970D05E13F}"/>
              </a:ext>
            </a:extLst>
          </p:cNvPr>
          <p:cNvSpPr txBox="1"/>
          <p:nvPr/>
        </p:nvSpPr>
        <p:spPr>
          <a:xfrm>
            <a:off x="149304" y="5723480"/>
            <a:ext cx="13804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Результат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="" xmlns:a16="http://schemas.microsoft.com/office/drawing/2014/main" id="{C6457CD7-3E7C-429E-AD7B-8688F37AAB71}"/>
              </a:ext>
            </a:extLst>
          </p:cNvPr>
          <p:cNvSpPr txBox="1"/>
          <p:nvPr/>
        </p:nvSpPr>
        <p:spPr>
          <a:xfrm>
            <a:off x="1535661" y="1319446"/>
            <a:ext cx="7282284" cy="156966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1. Детям, участников СВО, в </a:t>
            </a:r>
            <a:r>
              <a:rPr lang="ru-RU" sz="12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т.ч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.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з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аключившие контракт с организациями, содействующими выполнению задач СВО  (на момент отдыха ребенка участвуют в СВО). 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2. Детям, являющимися пасынками и падчерицами, участников СВО. 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3. Детям, погибших в ходе СВО.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4. Детям, являющимися полнородными или </a:t>
            </a:r>
            <a:r>
              <a:rPr lang="ru-RU" sz="12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еполнородными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 братьями и(или) сестрами участников СВО, погибших в СВО. </a:t>
            </a:r>
            <a:endParaRPr lang="ru-RU" sz="1200" b="1" dirty="0" smtClean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(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полный перечень установлен Постановлением Правительства Ленинградской области от 20 июня 2025 года № 526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E448090D-1F2F-4D64-84C5-B05B1BC3A55A}"/>
              </a:ext>
            </a:extLst>
          </p:cNvPr>
          <p:cNvSpPr txBox="1"/>
          <p:nvPr/>
        </p:nvSpPr>
        <p:spPr>
          <a:xfrm>
            <a:off x="96459" y="1611833"/>
            <a:ext cx="14120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ому 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536ACC2B-3207-443C-8AC3-9FB512E1E729}"/>
              </a:ext>
            </a:extLst>
          </p:cNvPr>
          <p:cNvSpPr txBox="1"/>
          <p:nvPr/>
        </p:nvSpPr>
        <p:spPr>
          <a:xfrm>
            <a:off x="1535661" y="2924944"/>
            <a:ext cx="7315124" cy="73866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fontAlgn="b"/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В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ногофункциональные центры Ленинградской области (</a:t>
            </a:r>
            <a:r>
              <a:rPr lang="ru-RU" sz="1400" b="1" dirty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МФЦ</a:t>
            </a:r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 и комитет общего и профессионального образования Ленинградской области (КОПО ЛО</a:t>
            </a:r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</a:t>
            </a:r>
          </a:p>
          <a:p>
            <a:pPr fontAlgn="b"/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(</a:t>
            </a:r>
            <a:r>
              <a:rPr lang="ru-RU" sz="1400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раткая инструкция на Портале отдыха и оздоровления детей Ленинградской области</a:t>
            </a:r>
            <a:r>
              <a:rPr lang="ru-RU" sz="1400" b="1" dirty="0" smtClean="0"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)</a:t>
            </a:r>
            <a:endParaRPr lang="ru-RU" sz="1400" b="1" dirty="0"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46B388A0-5D94-4F0C-B8E4-144E603D3777}"/>
              </a:ext>
            </a:extLst>
          </p:cNvPr>
          <p:cNvSpPr txBox="1"/>
          <p:nvPr/>
        </p:nvSpPr>
        <p:spPr>
          <a:xfrm>
            <a:off x="1668656" y="3765360"/>
            <a:ext cx="3045416" cy="138499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ача з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явления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редоставлении компенсации стоимости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тевки и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</a:t>
            </a:r>
          </a:p>
          <a:p>
            <a:pPr algn="l"/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лный перечень установлен постановлением Правительства ЛО от 23 марта 2018 года </a:t>
            </a:r>
            <a:r>
              <a:rPr lang="ru-RU" sz="1400" b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101)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="" xmlns:a16="http://schemas.microsoft.com/office/drawing/2014/main" id="{B6C663C6-0040-441F-AF2A-83EB1B6E19B1}"/>
              </a:ext>
            </a:extLst>
          </p:cNvPr>
          <p:cNvSpPr txBox="1"/>
          <p:nvPr/>
        </p:nvSpPr>
        <p:spPr>
          <a:xfrm>
            <a:off x="122684" y="4125868"/>
            <a:ext cx="14070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акие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документы</a:t>
            </a:r>
            <a:endParaRPr lang="ru-RU" sz="1400" b="1" dirty="0" smtClean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796C6428-4C84-453F-B24A-C8999E0842E7}"/>
              </a:ext>
            </a:extLst>
          </p:cNvPr>
          <p:cNvSpPr txBox="1"/>
          <p:nvPr/>
        </p:nvSpPr>
        <p:spPr>
          <a:xfrm>
            <a:off x="98477" y="3140968"/>
            <a:ext cx="1516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Куда подавать документы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A91A7E3E-14AE-40B3-8C3D-8DFFC9412AAA}"/>
              </a:ext>
            </a:extLst>
          </p:cNvPr>
          <p:cNvSpPr txBox="1"/>
          <p:nvPr/>
        </p:nvSpPr>
        <p:spPr>
          <a:xfrm>
            <a:off x="2051720" y="5589917"/>
            <a:ext cx="2016224" cy="8309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endParaRPr lang="ru-RU" sz="12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ной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частичной) компенсации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="" xmlns:a16="http://schemas.microsoft.com/office/drawing/2014/main" id="{D02DE30A-2233-4AD2-BED5-AB5875878A39}"/>
              </a:ext>
            </a:extLst>
          </p:cNvPr>
          <p:cNvSpPr txBox="1"/>
          <p:nvPr/>
        </p:nvSpPr>
        <p:spPr>
          <a:xfrm>
            <a:off x="6609897" y="5338759"/>
            <a:ext cx="1839978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ирование родителя (законного представителя) об отказе в предоставлении полной (частичной) компенсации 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8C3BEB81-228C-DE4F-94B6-32F742DF7766}"/>
              </a:ext>
            </a:extLst>
          </p:cNvPr>
          <p:cNvSpPr txBox="1"/>
          <p:nvPr/>
        </p:nvSpPr>
        <p:spPr>
          <a:xfrm>
            <a:off x="5243651" y="4306806"/>
            <a:ext cx="1487855" cy="52322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92D050"/>
                </a:solidFill>
                <a:latin typeface="DIN Pro Regular" panose="020B0504020101020102" pitchFamily="34" charset="0"/>
                <a:ea typeface="Open Sans" panose="020B0606030504020204" pitchFamily="34" charset="0"/>
                <a:cs typeface="DIN Pro Regular" panose="020B0504020101020102" pitchFamily="34" charset="0"/>
              </a:rPr>
              <a:t>Информация </a:t>
            </a:r>
            <a:r>
              <a:rPr lang="ru-RU" sz="1400" b="1" dirty="0" smtClean="0">
                <a:solidFill>
                  <a:srgbClr val="92D050"/>
                </a:solidFill>
                <a:latin typeface="DIN Pro Regular" panose="020B0504020101020102" pitchFamily="34" charset="0"/>
                <a:ea typeface="Open Sans" panose="020B0606030504020204" pitchFamily="34" charset="0"/>
                <a:cs typeface="DIN Pro Regular" panose="020B0504020101020102" pitchFamily="34" charset="0"/>
              </a:rPr>
              <a:t>подтвержден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2A2ED218-10E4-1943-B781-9A5229B0D6CD}"/>
              </a:ext>
            </a:extLst>
          </p:cNvPr>
          <p:cNvSpPr txBox="1"/>
          <p:nvPr/>
        </p:nvSpPr>
        <p:spPr>
          <a:xfrm>
            <a:off x="7060011" y="4337341"/>
            <a:ext cx="1853705" cy="52322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DIN Pro Regular" panose="020B0504020101020102" pitchFamily="34" charset="0"/>
                <a:ea typeface="Open Sans" panose="020B0606030504020204" pitchFamily="34" charset="0"/>
                <a:cs typeface="DIN Pro Regular" panose="020B0504020101020102" pitchFamily="34" charset="0"/>
              </a:rPr>
              <a:t>Информация не подтверждена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="" xmlns:a16="http://schemas.microsoft.com/office/drawing/2014/main" id="{8DCA5EA5-6FA2-A443-87FA-C2F6FC2F9201}"/>
              </a:ext>
            </a:extLst>
          </p:cNvPr>
          <p:cNvSpPr txBox="1"/>
          <p:nvPr/>
        </p:nvSpPr>
        <p:spPr>
          <a:xfrm>
            <a:off x="4528263" y="5589122"/>
            <a:ext cx="1598858" cy="8309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аз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полной (частичной) компенсации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="" xmlns:a16="http://schemas.microsoft.com/office/drawing/2014/main" id="{A99D90DA-821F-B4CE-E8C9-EFC9CD86278E}"/>
              </a:ext>
            </a:extLst>
          </p:cNvPr>
          <p:cNvSpPr txBox="1">
            <a:spLocks/>
          </p:cNvSpPr>
          <p:nvPr/>
        </p:nvSpPr>
        <p:spPr>
          <a:xfrm>
            <a:off x="8036027" y="315207"/>
            <a:ext cx="578475" cy="4697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>
              <a:solidFill>
                <a:srgbClr val="4472C4"/>
              </a:solidFill>
              <a:latin typeface="DIN Pro Bold" panose="020B0804020101020102" pitchFamily="34" charset="0"/>
              <a:cs typeface="DIN Pro Bold" panose="020B0804020101020102" pitchFamily="34" charset="0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4714072" y="4598951"/>
            <a:ext cx="529579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 flipH="1">
            <a:off x="4067945" y="4864532"/>
            <a:ext cx="1175706" cy="7159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H="1">
            <a:off x="6159783" y="4864532"/>
            <a:ext cx="900228" cy="73382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6120523" y="5913082"/>
            <a:ext cx="48937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4714072" y="4060342"/>
            <a:ext cx="338632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8100392" y="4025836"/>
            <a:ext cx="0" cy="2809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660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ц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</TotalTime>
  <Words>223</Words>
  <Application>Microsoft Office PowerPoint</Application>
  <PresentationFormat>Экран (4:3)</PresentationFormat>
  <Paragraphs>21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5_Тема Office</vt:lpstr>
      <vt:lpstr>Слайд think-cell</vt:lpstr>
      <vt:lpstr>Предоставление полной (частичной) компенсации стоимости путевок в организации отдыха детей и их оздоровления сезонного действия и круглогодичного действия, санаторно-оздоровительные лагеря круглогодичного действия и санатории для детей, расположенные на территории Российской Федерации» детям, участников СВО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ирилл Юрьевич Гамов</dc:creator>
  <cp:lastModifiedBy>Галина Викторовна Селезнева</cp:lastModifiedBy>
  <cp:revision>32</cp:revision>
  <cp:lastPrinted>2022-11-07T14:11:30Z</cp:lastPrinted>
  <dcterms:created xsi:type="dcterms:W3CDTF">2022-10-26T14:16:50Z</dcterms:created>
  <dcterms:modified xsi:type="dcterms:W3CDTF">2026-05-18T08:14:49Z</dcterms:modified>
</cp:coreProperties>
</file>